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92" r:id="rId4"/>
    <p:sldMasterId id="2147483748" r:id="rId5"/>
  </p:sldMasterIdLst>
  <p:notesMasterIdLst>
    <p:notesMasterId r:id="rId7"/>
  </p:notesMasterIdLst>
  <p:handoutMasterIdLst>
    <p:handoutMasterId r:id="rId8"/>
  </p:handoutMasterIdLst>
  <p:sldIdLst>
    <p:sldId id="257" r:id="rId6"/>
  </p:sldIdLst>
  <p:sldSz cx="12198350" cy="6859588"/>
  <p:notesSz cx="6797675" cy="9926638"/>
  <p:custDataLst>
    <p:tags r:id="rId9"/>
  </p:custDataLst>
  <p:defaultTextStyle>
    <a:defPPr>
      <a:defRPr lang="de-DE"/>
    </a:defPPr>
    <a:lvl1pPr marL="0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44479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88959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633438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77918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722397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877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1356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836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2" userDrawn="1">
          <p15:clr>
            <a:srgbClr val="A4A3A4"/>
          </p15:clr>
        </p15:guide>
        <p15:guide id="2" orient="horz" pos="870" userDrawn="1">
          <p15:clr>
            <a:srgbClr val="A4A3A4"/>
          </p15:clr>
        </p15:guide>
        <p15:guide id="3" orient="horz" pos="4054" userDrawn="1">
          <p15:clr>
            <a:srgbClr val="A4A3A4"/>
          </p15:clr>
        </p15:guide>
        <p15:guide id="4" orient="horz" pos="227" userDrawn="1">
          <p15:clr>
            <a:srgbClr val="A4A3A4"/>
          </p15:clr>
        </p15:guide>
        <p15:guide id="5" pos="244" userDrawn="1">
          <p15:clr>
            <a:srgbClr val="A4A3A4"/>
          </p15:clr>
        </p15:guide>
        <p15:guide id="6" pos="7446" userDrawn="1">
          <p15:clr>
            <a:srgbClr val="A4A3A4"/>
          </p15:clr>
        </p15:guide>
        <p15:guide id="7" pos="3929" userDrawn="1">
          <p15:clr>
            <a:srgbClr val="A4A3A4"/>
          </p15:clr>
        </p15:guide>
        <p15:guide id="8" pos="376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AC05"/>
    <a:srgbClr val="FFFFFF"/>
    <a:srgbClr val="236574"/>
    <a:srgbClr val="A9D08E"/>
    <a:srgbClr val="FF0000"/>
    <a:srgbClr val="FFE699"/>
    <a:srgbClr val="E8EFF5"/>
    <a:srgbClr val="B7BCC0"/>
    <a:srgbClr val="00677F"/>
    <a:srgbClr val="007A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3C2FFA5D-87B4-456A-9821-1D502468CF0F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43"/>
  </p:normalViewPr>
  <p:slideViewPr>
    <p:cSldViewPr snapToObjects="1" showGuides="1">
      <p:cViewPr varScale="1">
        <p:scale>
          <a:sx n="123" d="100"/>
          <a:sy n="123" d="100"/>
        </p:scale>
        <p:origin x="108" y="258"/>
      </p:cViewPr>
      <p:guideLst>
        <p:guide orient="horz" pos="952"/>
        <p:guide orient="horz" pos="870"/>
        <p:guide orient="horz" pos="4054"/>
        <p:guide orient="horz" pos="227"/>
        <p:guide pos="244"/>
        <p:guide pos="7446"/>
        <p:guide pos="3929"/>
        <p:guide pos="3769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Objects="1" showGuides="1">
      <p:cViewPr varScale="1">
        <p:scale>
          <a:sx n="104" d="100"/>
          <a:sy n="104" d="100"/>
        </p:scale>
        <p:origin x="5480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659FAD-8E5C-4176-8A0F-78C6A7CAAD66}" type="datetimeFigureOut">
              <a:rPr lang="de-DE" smtClean="0"/>
              <a:t>02.05.202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773134-F8AD-46E6-8489-08AFD7CEB534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94438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60EFE2-D792-441D-A0CB-85B7BAE28A53}" type="datetimeFigureOut">
              <a:rPr lang="de-DE" smtClean="0"/>
              <a:t>02.05.2024</a:t>
            </a:fld>
            <a:endParaRPr lang="de-DE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4538"/>
            <a:ext cx="66198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noProof="0" dirty="0"/>
              <a:t>Mastertextforma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7F1437-3BF2-450D-A7B9-B11E523F51F3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22287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j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rand Mark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line" hidden="1"/>
          <p:cNvSpPr>
            <a:spLocks noGrp="1"/>
          </p:cNvSpPr>
          <p:nvPr>
            <p:ph type="subTitle" idx="1"/>
          </p:nvPr>
        </p:nvSpPr>
        <p:spPr>
          <a:xfrm>
            <a:off x="-167237" y="6859588"/>
            <a:ext cx="36000" cy="3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674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100" b="0" i="0" kern="1200" baseline="0" noProof="0" dirty="0">
                <a:solidFill>
                  <a:srgbClr val="CFCFCF"/>
                </a:solidFill>
                <a:latin typeface="Daimler CS" pitchFamily="2" charset="0"/>
                <a:ea typeface="+mn-ea"/>
                <a:cs typeface="+mn-cs"/>
              </a:defRPr>
            </a:lvl1pPr>
          </a:lstStyle>
          <a:p>
            <a:pPr lvl="0" defTabSz="1089286">
              <a:lnSpc>
                <a:spcPct val="100000"/>
              </a:lnSpc>
              <a:buSzPct val="80000"/>
            </a:pPr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2" name="Headline"/>
          <p:cNvSpPr>
            <a:spLocks noGrp="1"/>
          </p:cNvSpPr>
          <p:nvPr>
            <p:ph type="ctrTitle"/>
          </p:nvPr>
        </p:nvSpPr>
        <p:spPr>
          <a:xfrm>
            <a:off x="628651" y="1845618"/>
            <a:ext cx="11191875" cy="140415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de-DE" baseline="0">
                <a:solidFill>
                  <a:schemeClr val="bg1"/>
                </a:solidFill>
              </a:defRPr>
            </a:lvl1pPr>
          </a:lstStyle>
          <a:p>
            <a:pPr marL="0" lvl="0" indent="0" algn="l" defTabSz="108928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</a:pPr>
            <a:r>
              <a:rPr lang="en-US"/>
              <a:t>Click to edit Master title style</a:t>
            </a:r>
            <a:endParaRPr lang="de-DE" dirty="0"/>
          </a:p>
        </p:txBody>
      </p:sp>
      <p:pic>
        <p:nvPicPr>
          <p:cNvPr id="7" name="Daimler/Daimler Truck">
            <a:extLst>
              <a:ext uri="{FF2B5EF4-FFF2-40B4-BE49-F238E27FC236}">
                <a16:creationId xmlns:a16="http://schemas.microsoft.com/office/drawing/2014/main" id="{CB5E14BC-54EF-5842-9687-1333111AF13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651" y="792000"/>
            <a:ext cx="10960100" cy="469900"/>
          </a:xfrm>
          <a:prstGeom prst="rect">
            <a:avLst/>
          </a:prstGeom>
        </p:spPr>
      </p:pic>
      <p:pic>
        <p:nvPicPr>
          <p:cNvPr id="6" name="Daimler Truck Marken">
            <a:extLst>
              <a:ext uri="{FF2B5EF4-FFF2-40B4-BE49-F238E27FC236}">
                <a16:creationId xmlns:a16="http://schemas.microsoft.com/office/drawing/2014/main" id="{F1DF073E-7301-4BEC-B384-640CA658C9C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8401" y="5512465"/>
            <a:ext cx="10440000" cy="888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26938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496" y="5905367"/>
            <a:ext cx="11411451" cy="522121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dirty="0"/>
              <a:t>Description in </a:t>
            </a:r>
            <a:r>
              <a:rPr lang="en-US" noProof="0" dirty="0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86"/>
            <a:ext cx="11410740" cy="1008593"/>
          </a:xfrm>
        </p:spPr>
        <p:txBody>
          <a:bodyPr/>
          <a:lstStyle/>
          <a:p>
            <a:r>
              <a:rPr lang="en-US" noProof="0" dirty="0"/>
              <a:t>Headline on two lines in CorpoA (Headings) 30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650"/>
            <a:ext cx="11410740" cy="424898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/>
              <a:t>CorpoS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37"/>
            <a:ext cx="5508000" cy="220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Injection duration Investigation| DIVe FIS | TT/S43-52 |</a:t>
            </a:r>
            <a:endParaRPr lang="en-US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D1D1349-391B-44DC-865F-5996B3E40F2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1" y="0"/>
            <a:ext cx="936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3482376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9">
          <p15:clr>
            <a:srgbClr val="A4A3A4"/>
          </p15:clr>
        </p15:guide>
        <p15:guide id="2" pos="7433">
          <p15:clr>
            <a:srgbClr val="A4A3A4"/>
          </p15:clr>
        </p15:guide>
        <p15:guide id="3" orient="horz" pos="232">
          <p15:clr>
            <a:srgbClr val="A4A3A4"/>
          </p15:clr>
        </p15:guide>
        <p15:guide id="4" orient="horz" pos="953">
          <p15:clr>
            <a:srgbClr val="A4A3A4"/>
          </p15:clr>
        </p15:guide>
        <p15:guide id="5" orient="horz" pos="4049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86"/>
            <a:ext cx="11453963" cy="1008593"/>
          </a:xfrm>
        </p:spPr>
        <p:txBody>
          <a:bodyPr/>
          <a:lstStyle/>
          <a:p>
            <a:r>
              <a:rPr lang="en-US" noProof="0" dirty="0"/>
              <a:t>Headline on two lines in CorpoA (Headings) 30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37"/>
            <a:ext cx="5508000" cy="220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7" y="1511651"/>
            <a:ext cx="5618925" cy="49160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/>
              <a:t>CorpoS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jection duration Investigation| DIVe FIS | TT/S43-52 |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21475" y="1511651"/>
            <a:ext cx="5582906" cy="49160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/>
              <a:t>CorpoS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1" y="0"/>
            <a:ext cx="936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896173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9">
          <p15:clr>
            <a:srgbClr val="A4A3A4"/>
          </p15:clr>
        </p15:guide>
        <p15:guide id="2" pos="7433">
          <p15:clr>
            <a:srgbClr val="A4A3A4"/>
          </p15:clr>
        </p15:guide>
        <p15:guide id="3" orient="horz" pos="232">
          <p15:clr>
            <a:srgbClr val="A4A3A4"/>
          </p15:clr>
        </p15:guide>
        <p15:guide id="4" orient="horz" pos="953">
          <p15:clr>
            <a:srgbClr val="A4A3A4"/>
          </p15:clr>
        </p15:guide>
        <p15:guide id="5" orient="horz" pos="4049">
          <p15:clr>
            <a:srgbClr val="A4A3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CorpoA (Headings) 30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37"/>
            <a:ext cx="5508000" cy="220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352"/>
            <a:ext cx="5582906" cy="4915339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20798" y="1512352"/>
            <a:ext cx="5582906" cy="4915339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/>
              <a:t>CorpoS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Injection duration Investigation| DIVe FIS | TT/S43-52 |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1" y="0"/>
            <a:ext cx="936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2664400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3">
          <p15:clr>
            <a:srgbClr val="A4A3A4"/>
          </p15:clr>
        </p15:guide>
        <p15:guide id="2" orient="horz" pos="4049">
          <p15:clr>
            <a:srgbClr val="A4A3A4"/>
          </p15:clr>
        </p15:guide>
        <p15:guide id="3" orient="horz" pos="232">
          <p15:clr>
            <a:srgbClr val="A4A3A4"/>
          </p15:clr>
        </p15:guide>
        <p15:guide id="4" pos="7433">
          <p15:clr>
            <a:srgbClr val="A4A3A4"/>
          </p15:clr>
        </p15:guide>
        <p15:guide id="5" pos="249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86"/>
            <a:ext cx="11410740" cy="1008593"/>
          </a:xfrm>
        </p:spPr>
        <p:txBody>
          <a:bodyPr/>
          <a:lstStyle/>
          <a:p>
            <a:r>
              <a:rPr lang="en-US" noProof="0" dirty="0"/>
              <a:t>Headline on two lines in CorpoA (Headings) 30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37"/>
            <a:ext cx="5508000" cy="220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350"/>
            <a:ext cx="5582906" cy="194445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21477" y="1511650"/>
            <a:ext cx="5582906" cy="194445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21477" y="3503612"/>
            <a:ext cx="5582906" cy="2924077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/>
              <a:t>CorpoS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288" y="3503612"/>
            <a:ext cx="5582906" cy="2924077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/>
              <a:t>CorpoS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/>
              <a:t>Injection duration Investigation| DIVe FIS | TT/S43-52 |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1" y="0"/>
            <a:ext cx="936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423606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9">
          <p15:clr>
            <a:srgbClr val="A4A3A4"/>
          </p15:clr>
        </p15:guide>
        <p15:guide id="2" pos="7433">
          <p15:clr>
            <a:srgbClr val="A4A3A4"/>
          </p15:clr>
        </p15:guide>
        <p15:guide id="3" orient="horz" pos="232">
          <p15:clr>
            <a:srgbClr val="A4A3A4"/>
          </p15:clr>
        </p15:guide>
        <p15:guide id="4" orient="horz" pos="953">
          <p15:clr>
            <a:srgbClr val="A4A3A4"/>
          </p15:clr>
        </p15:guide>
        <p15:guide id="5" orient="horz" pos="4049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CorpoA (Headings) 30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37"/>
            <a:ext cx="5508000" cy="220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351"/>
            <a:ext cx="11410740" cy="4477263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0" y="6032377"/>
            <a:ext cx="11404799" cy="3240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CorpoS 15 pt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noProof="0"/>
              <a:t>Injection duration Investigation| DIVe FIS | TT/S43-52 |</a:t>
            </a:r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304801" y="403294"/>
            <a:ext cx="1800000" cy="6586272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68" indent="-7196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</a:p>
            <a:p>
              <a:pPr marL="71968" indent="-7196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.</a:t>
              </a:r>
            </a:p>
            <a:p>
              <a:pPr marL="71968" indent="-7196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68" indent="-7196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68" indent="-7196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68" indent="-7196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68" indent="-7196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68" indent="-7196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Size // Crop</a:t>
              </a:r>
            </a:p>
            <a:p>
              <a:pPr marL="71968" indent="-7196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</a:p>
            <a:p>
              <a:pPr marL="71968" indent="-7196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68" indent="-7196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68" indent="-7196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68" indent="-7196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68" indent="-7196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68" indent="-7196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68" indent="-7196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68" indent="-7196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</a:p>
            <a:p>
              <a:pPr marL="71968" indent="-7196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99" b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baseline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noProof="0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1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1" y="0"/>
            <a:ext cx="936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7151509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9">
          <p15:clr>
            <a:srgbClr val="A4A3A4"/>
          </p15:clr>
        </p15:guide>
        <p15:guide id="2" pos="7433">
          <p15:clr>
            <a:srgbClr val="A4A3A4"/>
          </p15:clr>
        </p15:guide>
        <p15:guide id="3" orient="horz" pos="232">
          <p15:clr>
            <a:srgbClr val="A4A3A4"/>
          </p15:clr>
        </p15:guide>
        <p15:guide id="4" orient="horz" pos="953">
          <p15:clr>
            <a:srgbClr val="A4A3A4"/>
          </p15:clr>
        </p15:guide>
        <p15:guide id="5" orient="horz" pos="4049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CorpoA (Headings) 30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37"/>
            <a:ext cx="5508000" cy="220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noProof="0"/>
              <a:t>Injection duration Investigation| DIVe FIS | TT/S43-52 |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1" y="0"/>
            <a:ext cx="936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</a:t>
            </a:r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956929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9">
          <p15:clr>
            <a:srgbClr val="A4A3A4"/>
          </p15:clr>
        </p15:guide>
        <p15:guide id="2" pos="7433">
          <p15:clr>
            <a:srgbClr val="A4A3A4"/>
          </p15:clr>
        </p15:guide>
        <p15:guide id="3" orient="horz" pos="232">
          <p15:clr>
            <a:srgbClr val="A4A3A4"/>
          </p15:clr>
        </p15:guide>
        <p15:guide id="4" orient="horz" pos="953">
          <p15:clr>
            <a:srgbClr val="A4A3A4"/>
          </p15:clr>
        </p15:guide>
        <p15:guide id="5" orient="horz" pos="4049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3608" y="5253817"/>
            <a:ext cx="1512000" cy="1173872"/>
          </a:xfrm>
          <a:solidFill>
            <a:schemeClr val="accent1"/>
          </a:solidFill>
        </p:spPr>
        <p:txBody>
          <a:bodyPr lIns="72000" rIns="7200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CorpoS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 </a:t>
            </a:r>
            <a:endParaRPr lang="en-US" noProof="0" dirty="0"/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7177" y="2759040"/>
            <a:ext cx="1512000" cy="1173872"/>
          </a:xfrm>
          <a:solidFill>
            <a:schemeClr val="accent1"/>
          </a:solidFill>
        </p:spPr>
        <p:txBody>
          <a:bodyPr lIns="72000" rIns="7200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CorpoS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 </a:t>
            </a:r>
            <a:endParaRPr lang="en-US" noProof="0" dirty="0"/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7177" y="1511651"/>
            <a:ext cx="1512000" cy="1173872"/>
          </a:xfrm>
          <a:solidFill>
            <a:schemeClr val="accent1"/>
          </a:solidFill>
        </p:spPr>
        <p:txBody>
          <a:bodyPr lIns="72000" rIns="7200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CorpoS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 </a:t>
            </a:r>
            <a:endParaRPr lang="en-US" noProof="0" dirty="0"/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7177" y="4006428"/>
            <a:ext cx="1512000" cy="1173872"/>
          </a:xfrm>
          <a:solidFill>
            <a:schemeClr val="accent1"/>
          </a:solidFill>
        </p:spPr>
        <p:txBody>
          <a:bodyPr lIns="72000" rIns="7200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CorpoS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 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CorpoA (Headings) 30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287" y="151237"/>
            <a:ext cx="5508000" cy="220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9175" y="1512350"/>
            <a:ext cx="1512000" cy="1173872"/>
          </a:xfrm>
          <a:solidFill>
            <a:schemeClr val="accent1"/>
          </a:solidFill>
        </p:spPr>
        <p:txBody>
          <a:bodyPr lIns="72000" rIns="7200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CorpoS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 </a:t>
            </a:r>
            <a:endParaRPr lang="en-US" noProof="0" dirty="0"/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9175" y="2759506"/>
            <a:ext cx="1512000" cy="1173872"/>
          </a:xfrm>
          <a:solidFill>
            <a:schemeClr val="accent1"/>
          </a:solidFill>
        </p:spPr>
        <p:txBody>
          <a:bodyPr lIns="72000" rIns="7200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CorpoS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 </a:t>
            </a:r>
            <a:endParaRPr lang="en-US" noProof="0" dirty="0"/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9175" y="4006661"/>
            <a:ext cx="1512000" cy="1173872"/>
          </a:xfrm>
          <a:solidFill>
            <a:schemeClr val="accent1"/>
          </a:solidFill>
        </p:spPr>
        <p:txBody>
          <a:bodyPr lIns="72000" rIns="7200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CorpoS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 </a:t>
            </a:r>
            <a:endParaRPr lang="en-US" noProof="0" dirty="0"/>
          </a:p>
        </p:txBody>
      </p:sp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9175" y="5253817"/>
            <a:ext cx="1512000" cy="1173872"/>
          </a:xfrm>
          <a:solidFill>
            <a:schemeClr val="accent1"/>
          </a:solidFill>
        </p:spPr>
        <p:txBody>
          <a:bodyPr lIns="72000" rIns="7200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CorpoS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 </a:t>
            </a:r>
            <a:endParaRPr lang="en-US" noProof="0" dirty="0"/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6001" y="1512350"/>
            <a:ext cx="1800000" cy="1173872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CorpoS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6001" y="5253817"/>
            <a:ext cx="1800000" cy="1173872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CorpoS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6001" y="4006661"/>
            <a:ext cx="1800000" cy="1173872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CorpoS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6001" y="2759506"/>
            <a:ext cx="1800000" cy="1173872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CorpoS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0001475" y="1511651"/>
            <a:ext cx="1800000" cy="1173872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CorpoS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10001475" y="5253817"/>
            <a:ext cx="1800000" cy="1173872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CorpoS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10001475" y="4006428"/>
            <a:ext cx="1800000" cy="1173872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CorpoS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10001475" y="2759040"/>
            <a:ext cx="1800000" cy="1173872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CorpoS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8672" y="1511651"/>
            <a:ext cx="1692005" cy="1173872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8672" y="4006428"/>
            <a:ext cx="1692005" cy="1173872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9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8672" y="2759040"/>
            <a:ext cx="1692005" cy="1173872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9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8672" y="5253817"/>
            <a:ext cx="1692005" cy="1173872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9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4000" y="1512350"/>
            <a:ext cx="1692005" cy="1173872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4000" y="4006661"/>
            <a:ext cx="1692005" cy="1173872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9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4000" y="2759506"/>
            <a:ext cx="1692005" cy="1173872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4000" y="5253817"/>
            <a:ext cx="1692005" cy="1173872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 bwMode="gray">
          <a:xfrm>
            <a:off x="3996005" y="2099286"/>
            <a:ext cx="483170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 bwMode="gray">
          <a:xfrm>
            <a:off x="3996005" y="3346442"/>
            <a:ext cx="483170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 bwMode="gray">
          <a:xfrm flipH="1">
            <a:off x="7719177" y="2098587"/>
            <a:ext cx="47949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 bwMode="gray">
          <a:xfrm>
            <a:off x="7719177" y="3345976"/>
            <a:ext cx="47949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 bwMode="gray">
          <a:xfrm>
            <a:off x="7719177" y="4593364"/>
            <a:ext cx="47949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 bwMode="gray">
          <a:xfrm>
            <a:off x="7715607" y="5840753"/>
            <a:ext cx="483064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 bwMode="gray">
          <a:xfrm>
            <a:off x="3996005" y="5840753"/>
            <a:ext cx="483170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 bwMode="gray">
          <a:xfrm>
            <a:off x="3996005" y="4593597"/>
            <a:ext cx="483170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ußzeilenplatzhalter 2"/>
          <p:cNvSpPr>
            <a:spLocks noGrp="1"/>
          </p:cNvSpPr>
          <p:nvPr>
            <p:ph type="ftr" sz="quarter" idx="45"/>
          </p:nvPr>
        </p:nvSpPr>
        <p:spPr/>
        <p:txBody>
          <a:bodyPr/>
          <a:lstStyle/>
          <a:p>
            <a:r>
              <a:rPr lang="en-US"/>
              <a:t>Injection duration Investigation| DIVe FIS | TT/S43-52 |</a:t>
            </a:r>
            <a:endParaRPr lang="en-US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46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47" hasCustomPrompt="1"/>
          </p:nvPr>
        </p:nvSpPr>
        <p:spPr>
          <a:xfrm>
            <a:off x="6973201" y="0"/>
            <a:ext cx="936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</a:t>
            </a:r>
          </a:p>
        </p:txBody>
      </p:sp>
      <p:sp>
        <p:nvSpPr>
          <p:cNvPr id="43" name="Textplatzhalter 3"/>
          <p:cNvSpPr>
            <a:spLocks noGrp="1"/>
          </p:cNvSpPr>
          <p:nvPr>
            <p:ph type="body" sz="quarter" idx="48" hasCustomPrompt="1"/>
          </p:nvPr>
        </p:nvSpPr>
        <p:spPr>
          <a:xfrm>
            <a:off x="7984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</a:t>
            </a:r>
          </a:p>
        </p:txBody>
      </p:sp>
      <p:sp>
        <p:nvSpPr>
          <p:cNvPr id="44" name="Textplatzhalter 3"/>
          <p:cNvSpPr>
            <a:spLocks noGrp="1"/>
          </p:cNvSpPr>
          <p:nvPr>
            <p:ph type="body" sz="quarter" idx="49" hasCustomPrompt="1"/>
          </p:nvPr>
        </p:nvSpPr>
        <p:spPr>
          <a:xfrm>
            <a:off x="9928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4667977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9">
          <p15:clr>
            <a:srgbClr val="A4A3A4"/>
          </p15:clr>
        </p15:guide>
        <p15:guide id="2" pos="7433">
          <p15:clr>
            <a:srgbClr val="A4A3A4"/>
          </p15:clr>
        </p15:guide>
        <p15:guide id="3" orient="horz" pos="232">
          <p15:clr>
            <a:srgbClr val="A4A3A4"/>
          </p15:clr>
        </p15:guide>
        <p15:guide id="4" orient="horz" pos="953">
          <p15:clr>
            <a:srgbClr val="A4A3A4"/>
          </p15:clr>
        </p15:guide>
        <p15:guide id="5" orient="horz" pos="4049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4336" y="2758238"/>
            <a:ext cx="6152003" cy="2422295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9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3" name="Textplatzhalter 3"/>
          <p:cNvSpPr>
            <a:spLocks noGrp="1" noChangeAspect="1"/>
          </p:cNvSpPr>
          <p:nvPr>
            <p:ph type="body" sz="quarter" idx="67" hasCustomPrompt="1"/>
          </p:nvPr>
        </p:nvSpPr>
        <p:spPr>
          <a:xfrm rot="9427937">
            <a:off x="2425692" y="5285652"/>
            <a:ext cx="1909937" cy="9159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1" name="Textplatzhalter 3"/>
          <p:cNvSpPr>
            <a:spLocks noGrp="1" noChangeAspect="1"/>
          </p:cNvSpPr>
          <p:nvPr>
            <p:ph type="body" sz="quarter" idx="56" hasCustomPrompt="1"/>
          </p:nvPr>
        </p:nvSpPr>
        <p:spPr>
          <a:xfrm rot="17090839">
            <a:off x="7964556" y="2809557"/>
            <a:ext cx="1284818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2" name="Textplatzhalter 3"/>
          <p:cNvSpPr>
            <a:spLocks noGrp="1" noChangeAspect="1"/>
          </p:cNvSpPr>
          <p:nvPr>
            <p:ph type="body" sz="quarter" idx="57" hasCustomPrompt="1"/>
          </p:nvPr>
        </p:nvSpPr>
        <p:spPr>
          <a:xfrm rot="18468895">
            <a:off x="6090372" y="2581667"/>
            <a:ext cx="1284818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3" name="Textplatzhalter 3"/>
          <p:cNvSpPr>
            <a:spLocks noGrp="1" noChangeAspect="1"/>
          </p:cNvSpPr>
          <p:nvPr>
            <p:ph type="body" sz="quarter" idx="58" hasCustomPrompt="1"/>
          </p:nvPr>
        </p:nvSpPr>
        <p:spPr>
          <a:xfrm rot="11041244">
            <a:off x="2483054" y="3144952"/>
            <a:ext cx="2204126" cy="80261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95888" h="109067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995888" y="109067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4" name="Textplatzhalter 3"/>
          <p:cNvSpPr>
            <a:spLocks noGrp="1" noChangeAspect="1"/>
          </p:cNvSpPr>
          <p:nvPr>
            <p:ph type="body" sz="quarter" idx="59" hasCustomPrompt="1"/>
          </p:nvPr>
        </p:nvSpPr>
        <p:spPr>
          <a:xfrm rot="10320000">
            <a:off x="2608500" y="4604380"/>
            <a:ext cx="3267222" cy="79351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5" name="Textplatzhalter 3"/>
          <p:cNvSpPr>
            <a:spLocks noGrp="1" noChangeAspect="1"/>
          </p:cNvSpPr>
          <p:nvPr>
            <p:ph type="body" sz="quarter" idx="60" hasCustomPrompt="1"/>
          </p:nvPr>
        </p:nvSpPr>
        <p:spPr>
          <a:xfrm rot="3540000">
            <a:off x="5861369" y="4898455"/>
            <a:ext cx="1910379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6" name="Textplatzhalter 3"/>
          <p:cNvSpPr>
            <a:spLocks noGrp="1" noChangeAspect="1"/>
          </p:cNvSpPr>
          <p:nvPr>
            <p:ph type="body" sz="quarter" idx="61" hasCustomPrompt="1"/>
          </p:nvPr>
        </p:nvSpPr>
        <p:spPr>
          <a:xfrm rot="12197832">
            <a:off x="2201247" y="2580048"/>
            <a:ext cx="3267222" cy="79351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7" name="Textplatzhalter 3"/>
          <p:cNvSpPr>
            <a:spLocks noGrp="1" noChangeAspect="1"/>
          </p:cNvSpPr>
          <p:nvPr>
            <p:ph type="body" sz="quarter" idx="62" hasCustomPrompt="1"/>
          </p:nvPr>
        </p:nvSpPr>
        <p:spPr>
          <a:xfrm rot="13889278">
            <a:off x="4708556" y="2521270"/>
            <a:ext cx="1284818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8" name="Textplatzhalter 3"/>
          <p:cNvSpPr>
            <a:spLocks noGrp="1" noChangeAspect="1"/>
          </p:cNvSpPr>
          <p:nvPr>
            <p:ph type="body" sz="quarter" idx="63" hasCustomPrompt="1"/>
          </p:nvPr>
        </p:nvSpPr>
        <p:spPr>
          <a:xfrm rot="17090839" flipH="1" flipV="1">
            <a:off x="4827585" y="5383473"/>
            <a:ext cx="1284818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9" name="Textplatzhalter 3"/>
          <p:cNvSpPr>
            <a:spLocks noGrp="1" noChangeAspect="1"/>
          </p:cNvSpPr>
          <p:nvPr>
            <p:ph type="body" sz="quarter" idx="64" hasCustomPrompt="1"/>
          </p:nvPr>
        </p:nvSpPr>
        <p:spPr>
          <a:xfrm rot="12243241" flipH="1" flipV="1">
            <a:off x="8587331" y="4581754"/>
            <a:ext cx="1284521" cy="5401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20" name="Textplatzhalter 3"/>
          <p:cNvSpPr>
            <a:spLocks noGrp="1" noChangeAspect="1"/>
          </p:cNvSpPr>
          <p:nvPr>
            <p:ph type="body" sz="quarter" idx="65" hasCustomPrompt="1"/>
          </p:nvPr>
        </p:nvSpPr>
        <p:spPr>
          <a:xfrm rot="10046435" flipH="1" flipV="1">
            <a:off x="8610544" y="3346501"/>
            <a:ext cx="1284521" cy="5401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22" name="Textplatzhalter 3"/>
          <p:cNvSpPr>
            <a:spLocks noGrp="1" noChangeAspect="1"/>
          </p:cNvSpPr>
          <p:nvPr>
            <p:ph type="body" sz="quarter" idx="66" hasCustomPrompt="1"/>
          </p:nvPr>
        </p:nvSpPr>
        <p:spPr>
          <a:xfrm rot="2851924">
            <a:off x="6698360" y="4855601"/>
            <a:ext cx="3267979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CorpoA (Headings) 30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287" y="151237"/>
            <a:ext cx="5508000" cy="220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108" name="Textplatzhalter 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396000" y="5253817"/>
            <a:ext cx="3754800" cy="1173872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CorpoS (Body), 15 pt. // for smaller text: Home // Paragraph // Increase List Level</a:t>
            </a:r>
          </a:p>
        </p:txBody>
      </p:sp>
      <p:sp>
        <p:nvSpPr>
          <p:cNvPr id="109" name="Textplatzhalter 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4223026" y="5253817"/>
            <a:ext cx="1839600" cy="1173872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ext CorpoS, 15 pt. // for smaller text:  Increase List Level</a:t>
            </a:r>
          </a:p>
        </p:txBody>
      </p:sp>
      <p:sp>
        <p:nvSpPr>
          <p:cNvPr id="110" name="Textplatzhalter 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6134851" y="5253817"/>
            <a:ext cx="1839600" cy="1173872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ext CorpoS, 15 pt. // for smaller text:  Increase List Level</a:t>
            </a:r>
          </a:p>
        </p:txBody>
      </p:sp>
      <p:sp>
        <p:nvSpPr>
          <p:cNvPr id="75" name="Textplatzhalter 3"/>
          <p:cNvSpPr>
            <a:spLocks noGrp="1"/>
          </p:cNvSpPr>
          <p:nvPr userDrawn="1">
            <p:ph type="body" sz="quarter" idx="34" hasCustomPrompt="1"/>
          </p:nvPr>
        </p:nvSpPr>
        <p:spPr bwMode="gray">
          <a:xfrm>
            <a:off x="396000" y="1512350"/>
            <a:ext cx="3754800" cy="1173872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CorpoS (Body), 15 pt. // for smaller text: Home // Paragraph // Increase List Level</a:t>
            </a:r>
          </a:p>
        </p:txBody>
      </p:sp>
      <p:sp>
        <p:nvSpPr>
          <p:cNvPr id="96" name="Textplatzhalter 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396000" y="2759506"/>
            <a:ext cx="2556000" cy="1173872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CorpoS (Body), 15 pt. // for smaller text: Home // Paragraph // Increase List Level</a:t>
            </a:r>
          </a:p>
        </p:txBody>
      </p:sp>
      <p:sp>
        <p:nvSpPr>
          <p:cNvPr id="97" name="Textplatzhalter 3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396000" y="4006662"/>
            <a:ext cx="2556000" cy="1173872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CorpoS (Body), 15 pt. // for smaller text: Home // Paragraph // Increase List Level</a:t>
            </a:r>
          </a:p>
        </p:txBody>
      </p:sp>
      <p:sp>
        <p:nvSpPr>
          <p:cNvPr id="93" name="Textplatzhalter 3"/>
          <p:cNvSpPr>
            <a:spLocks noGrp="1"/>
          </p:cNvSpPr>
          <p:nvPr userDrawn="1">
            <p:ph type="body" sz="quarter" idx="45" hasCustomPrompt="1"/>
          </p:nvPr>
        </p:nvSpPr>
        <p:spPr bwMode="gray">
          <a:xfrm>
            <a:off x="8046674" y="1512350"/>
            <a:ext cx="3754800" cy="1173872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CorpoS (Body), 15 pt. // for smaller text: Home // Paragraph // Increase List Level</a:t>
            </a:r>
          </a:p>
        </p:txBody>
      </p:sp>
      <p:sp>
        <p:nvSpPr>
          <p:cNvPr id="98" name="Textplatzhalter 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9245474" y="2759506"/>
            <a:ext cx="2556000" cy="1173872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CorpoS (Body), 15 pt. // for smaller text: Home // Paragraph // Increase List Level</a:t>
            </a:r>
          </a:p>
        </p:txBody>
      </p:sp>
      <p:sp>
        <p:nvSpPr>
          <p:cNvPr id="99" name="Textplatzhalter 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9245474" y="4006662"/>
            <a:ext cx="2556000" cy="1173872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CorpoS (Body), 15 pt. // for smaller text: Home // Paragraph // Increase List Level</a:t>
            </a:r>
          </a:p>
        </p:txBody>
      </p:sp>
      <p:sp>
        <p:nvSpPr>
          <p:cNvPr id="95" name="Textplatzhalt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134851" y="1512350"/>
            <a:ext cx="1839600" cy="1173872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marR="0" indent="0" algn="l" defTabSz="9139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ext CorpoS, 15 pt. // for smaller text:  Increase List Level</a:t>
            </a:r>
          </a:p>
        </p:txBody>
      </p:sp>
      <p:sp>
        <p:nvSpPr>
          <p:cNvPr id="100" name="Textplatzhalter 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8046674" y="5253817"/>
            <a:ext cx="3754800" cy="1173872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CorpoS (Body), 15 pt. // for smaller text: Home // Paragraph // Increase List Level</a:t>
            </a:r>
          </a:p>
        </p:txBody>
      </p:sp>
      <p:sp>
        <p:nvSpPr>
          <p:cNvPr id="94" name="Textplatzhalt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4223026" y="1512350"/>
            <a:ext cx="1839600" cy="1173872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ext CorpoS, 15 pt. // for smaller text:  Increase List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68"/>
          </p:nvPr>
        </p:nvSpPr>
        <p:spPr/>
        <p:txBody>
          <a:bodyPr/>
          <a:lstStyle/>
          <a:p>
            <a:r>
              <a:rPr lang="en-US" noProof="0"/>
              <a:t>Injection duration Investigation| DIVe FIS | TT/S43-52 |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69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3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1" y="0"/>
            <a:ext cx="936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</a:t>
            </a:r>
          </a:p>
        </p:txBody>
      </p:sp>
      <p:sp>
        <p:nvSpPr>
          <p:cNvPr id="3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</a:t>
            </a:r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685406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00"/>
                            </p:stCondLst>
                            <p:childTnLst>
                              <p:par>
                                <p:cTn id="7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00"/>
                            </p:stCondLst>
                            <p:childTnLst>
                              <p:par>
                                <p:cTn id="8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500"/>
                            </p:stCondLst>
                            <p:childTnLst>
                              <p:par>
                                <p:cTn id="9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500"/>
                            </p:stCondLst>
                            <p:childTnLst>
                              <p:par>
                                <p:cTn id="9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500"/>
                            </p:stCondLst>
                            <p:childTnLst>
                              <p:par>
                                <p:cTn id="10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1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2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4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5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6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7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8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9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0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2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5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6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7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3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5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4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pos="249">
          <p15:clr>
            <a:srgbClr val="A4A3A4"/>
          </p15:clr>
        </p15:guide>
        <p15:guide id="2" pos="7433">
          <p15:clr>
            <a:srgbClr val="A4A3A4"/>
          </p15:clr>
        </p15:guide>
        <p15:guide id="3" orient="horz" pos="232">
          <p15:clr>
            <a:srgbClr val="A4A3A4"/>
          </p15:clr>
        </p15:guide>
        <p15:guide id="4" orient="horz" pos="953">
          <p15:clr>
            <a:srgbClr val="A4A3A4"/>
          </p15:clr>
        </p15:guide>
        <p15:guide id="5" orient="horz" pos="4049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6000" y="3852778"/>
            <a:ext cx="3754800" cy="396092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CorpoS, </a:t>
            </a:r>
            <a:r>
              <a:rPr lang="en-US" dirty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6000" y="3384552"/>
            <a:ext cx="3754800" cy="396092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CorpoS, </a:t>
            </a:r>
            <a:r>
              <a:rPr lang="en-US" dirty="0"/>
              <a:t>20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CorpoA (Headings) 30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287" y="151237"/>
            <a:ext cx="5508000" cy="220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6000" y="1511651"/>
            <a:ext cx="3754800" cy="396092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CorpoS, </a:t>
            </a:r>
            <a:r>
              <a:rPr lang="en-US" dirty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6000" y="1980459"/>
            <a:ext cx="3754800" cy="396092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CorpoS, </a:t>
            </a:r>
            <a:r>
              <a:rPr lang="en-US" dirty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6000" y="2916326"/>
            <a:ext cx="3754800" cy="396092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CorpoS, </a:t>
            </a:r>
            <a:r>
              <a:rPr lang="en-US" dirty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6000" y="4321000"/>
            <a:ext cx="3754800" cy="396092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CorpoS, </a:t>
            </a:r>
            <a:r>
              <a:rPr lang="en-US" dirty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6000" y="2448101"/>
            <a:ext cx="3754800" cy="396092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CorpoS, </a:t>
            </a:r>
            <a:r>
              <a:rPr lang="en-US" dirty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2800" y="1511650"/>
            <a:ext cx="7581947" cy="3205442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/>
              <a:t>Injection duration Investigation| DIVe FIS | TT/S43-52 |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1" y="0"/>
            <a:ext cx="936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9928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268318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9">
          <p15:clr>
            <a:srgbClr val="A4A3A4"/>
          </p15:clr>
        </p15:guide>
        <p15:guide id="2" pos="7433">
          <p15:clr>
            <a:srgbClr val="A4A3A4"/>
          </p15:clr>
        </p15:guide>
        <p15:guide id="3" orient="horz" pos="232">
          <p15:clr>
            <a:srgbClr val="A4A3A4"/>
          </p15:clr>
        </p15:guide>
        <p15:guide id="4" orient="horz" pos="953">
          <p15:clr>
            <a:srgbClr val="A4A3A4"/>
          </p15:clr>
        </p15:guide>
        <p15:guide id="5" orient="horz" pos="4049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86"/>
            <a:ext cx="11410740" cy="1008593"/>
          </a:xfrm>
        </p:spPr>
        <p:txBody>
          <a:bodyPr/>
          <a:lstStyle/>
          <a:p>
            <a:r>
              <a:rPr lang="en-US" noProof="0" dirty="0"/>
              <a:t>Headline on two lines in CorpoA (Headings) 30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37"/>
            <a:ext cx="5508000" cy="220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350"/>
            <a:ext cx="3754800" cy="1944450"/>
          </a:xfrm>
          <a:solidFill>
            <a:srgbClr val="9F0002"/>
          </a:solidFill>
        </p:spPr>
        <p:txBody>
          <a:bodyPr/>
          <a:lstStyle>
            <a:lvl1pPr marL="0" marR="0" indent="0" algn="ctr" defTabSz="9139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0" y="4045164"/>
            <a:ext cx="3754800" cy="194445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6676" y="1512350"/>
            <a:ext cx="3754800" cy="194445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6676" y="4045164"/>
            <a:ext cx="3754800" cy="194445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21338" y="1512350"/>
            <a:ext cx="3754800" cy="1944450"/>
          </a:xfrm>
          <a:solidFill>
            <a:srgbClr val="9F0002"/>
          </a:solidFill>
        </p:spPr>
        <p:txBody>
          <a:bodyPr/>
          <a:lstStyle>
            <a:lvl1pPr marL="0" marR="0" indent="0" algn="ctr" defTabSz="9139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21338" y="4045164"/>
            <a:ext cx="3754800" cy="194445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999" y="3502059"/>
            <a:ext cx="3754800" cy="3240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aseline="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CorpoS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6032377"/>
            <a:ext cx="3754800" cy="3240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CorpoS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21338" y="3502059"/>
            <a:ext cx="3754800" cy="324075"/>
          </a:xfrm>
        </p:spPr>
        <p:txBody>
          <a:bodyPr/>
          <a:lstStyle>
            <a:lvl1pPr marL="0" marR="0" indent="0" algn="l" defTabSz="9139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CorpoS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6676" y="3502059"/>
            <a:ext cx="3754800" cy="324075"/>
          </a:xfrm>
        </p:spPr>
        <p:txBody>
          <a:bodyPr/>
          <a:lstStyle>
            <a:lvl1pPr marL="0" marR="0" indent="0" algn="l" defTabSz="9139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CorpoS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21339" y="6032377"/>
            <a:ext cx="3754800" cy="3240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CorpoS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6676" y="6032377"/>
            <a:ext cx="3754800" cy="3240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CorpoS 15 pt.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 noProof="0"/>
              <a:t>Injection duration Investigation| DIVe FIS | TT/S43-52 |</a:t>
            </a:r>
            <a:endParaRPr lang="en-US" noProof="0" dirty="0"/>
          </a:p>
        </p:txBody>
      </p:sp>
      <p:sp>
        <p:nvSpPr>
          <p:cNvPr id="27" name="Foliennummernplatzhalter 2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6973201" y="0"/>
            <a:ext cx="936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7984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9928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2272608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9">
          <p15:clr>
            <a:srgbClr val="A4A3A4"/>
          </p15:clr>
        </p15:guide>
        <p15:guide id="2" pos="7433">
          <p15:clr>
            <a:srgbClr val="A4A3A4"/>
          </p15:clr>
        </p15:guide>
        <p15:guide id="3" orient="horz" pos="232">
          <p15:clr>
            <a:srgbClr val="A4A3A4"/>
          </p15:clr>
        </p15:guide>
        <p15:guide id="4" orient="horz" pos="953">
          <p15:clr>
            <a:srgbClr val="A4A3A4"/>
          </p15:clr>
        </p15:guide>
        <p15:guide id="5" orient="horz" pos="4049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"/>
          <p:cNvSpPr>
            <a:spLocks noGrp="1"/>
          </p:cNvSpPr>
          <p:nvPr>
            <p:ph type="sldNum" sz="quarter" idx="4"/>
          </p:nvPr>
        </p:nvSpPr>
        <p:spPr>
          <a:xfrm>
            <a:off x="11483455" y="6553519"/>
            <a:ext cx="32416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1000" b="0" i="0" smtClean="0">
                <a:latin typeface="+mn-lt"/>
              </a:defRPr>
            </a:lvl1pPr>
          </a:lstStyle>
          <a:p>
            <a:pPr defTabSz="914911">
              <a:lnSpc>
                <a:spcPct val="108000"/>
              </a:lnSpc>
              <a:spcAft>
                <a:spcPts val="1008"/>
              </a:spcAft>
            </a:pPr>
            <a:fld id="{52531704-8F80-415D-BD2B-6B9991AE822F}" type="slidenum">
              <a:rPr lang="de-DE" smtClean="0"/>
              <a:pPr defTabSz="914911">
                <a:lnSpc>
                  <a:spcPct val="108000"/>
                </a:lnSpc>
                <a:spcAft>
                  <a:spcPts val="1008"/>
                </a:spcAft>
              </a:pPr>
              <a:t>‹#›</a:t>
            </a:fld>
            <a:endParaRPr lang="de-DE" dirty="0"/>
          </a:p>
        </p:txBody>
      </p:sp>
      <p:sp>
        <p:nvSpPr>
          <p:cNvPr id="8" name="Footer">
            <a:extLst>
              <a:ext uri="{FF2B5EF4-FFF2-40B4-BE49-F238E27FC236}">
                <a16:creationId xmlns:a16="http://schemas.microsoft.com/office/drawing/2014/main" id="{D1C9B917-9822-40E3-B190-583B28BC0D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46847" y="6553519"/>
            <a:ext cx="785208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1000" b="0" i="0" smtClean="0">
                <a:latin typeface="+mn-lt"/>
              </a:defRPr>
            </a:lvl1pPr>
          </a:lstStyle>
          <a:p>
            <a:pPr defTabSz="914911">
              <a:lnSpc>
                <a:spcPct val="108000"/>
              </a:lnSpc>
              <a:spcAft>
                <a:spcPts val="1008"/>
              </a:spcAft>
            </a:pPr>
            <a:r>
              <a:rPr lang="en-US"/>
              <a:t>Injection duration Investigation| DIVe FIS | TT/S43-52 |</a:t>
            </a:r>
            <a:endParaRPr lang="de-DE" dirty="0"/>
          </a:p>
        </p:txBody>
      </p:sp>
      <p:sp>
        <p:nvSpPr>
          <p:cNvPr id="6" name="Text">
            <a:extLst>
              <a:ext uri="{FF2B5EF4-FFF2-40B4-BE49-F238E27FC236}">
                <a16:creationId xmlns:a16="http://schemas.microsoft.com/office/drawing/2014/main" id="{D9A6CA7B-BE10-4ED1-A788-81A3625EEB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495" y="1511651"/>
            <a:ext cx="11412129" cy="491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Headlin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78318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86"/>
            <a:ext cx="11410740" cy="1008593"/>
          </a:xfrm>
        </p:spPr>
        <p:txBody>
          <a:bodyPr/>
          <a:lstStyle/>
          <a:p>
            <a:r>
              <a:rPr lang="en-US" noProof="0" dirty="0"/>
              <a:t>Headline on two lines in CorpoA (Headings) 30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37"/>
            <a:ext cx="5508000" cy="220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350"/>
            <a:ext cx="3754800" cy="3755669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6676" y="1512350"/>
            <a:ext cx="3754800" cy="3755669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21338" y="1512350"/>
            <a:ext cx="3754800" cy="3755669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999" y="5314830"/>
            <a:ext cx="3754800" cy="3240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CorpoS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21338" y="5314830"/>
            <a:ext cx="3754800" cy="3240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CorpoS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6676" y="5314830"/>
            <a:ext cx="3754800" cy="3240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CorpoS 15 pt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US" noProof="0"/>
              <a:t>Injection duration Investigation| DIVe FIS | TT/S43-52 |</a:t>
            </a:r>
            <a:endParaRPr lang="en-US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1" y="0"/>
            <a:ext cx="936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30" hasCustomPrompt="1"/>
          </p:nvPr>
        </p:nvSpPr>
        <p:spPr>
          <a:xfrm>
            <a:off x="9928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6431607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9">
          <p15:clr>
            <a:srgbClr val="A4A3A4"/>
          </p15:clr>
        </p15:guide>
        <p15:guide id="2" pos="7433">
          <p15:clr>
            <a:srgbClr val="A4A3A4"/>
          </p15:clr>
        </p15:guide>
        <p15:guide id="3" orient="horz" pos="232">
          <p15:clr>
            <a:srgbClr val="A4A3A4"/>
          </p15:clr>
        </p15:guide>
        <p15:guide id="4" orient="horz" pos="953">
          <p15:clr>
            <a:srgbClr val="A4A3A4"/>
          </p15:clr>
        </p15:guide>
        <p15:guide id="5" orient="horz" pos="4049">
          <p15:clr>
            <a:srgbClr val="A4A3A4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368386"/>
            <a:ext cx="11406187" cy="1008593"/>
          </a:xfrm>
        </p:spPr>
        <p:txBody>
          <a:bodyPr/>
          <a:lstStyle/>
          <a:p>
            <a:r>
              <a:rPr lang="en-US" noProof="0" dirty="0"/>
              <a:t>Headline on two lines in CorpoA (Headings) 30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37"/>
            <a:ext cx="5508000" cy="220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350"/>
            <a:ext cx="5669351" cy="194445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1" y="4045164"/>
            <a:ext cx="5669351" cy="194445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1" y="3502059"/>
            <a:ext cx="5669351" cy="3240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CorpoS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6032377"/>
            <a:ext cx="5669351" cy="3240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CorpoS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5076" y="1511650"/>
            <a:ext cx="5669351" cy="194445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5076" y="4044463"/>
            <a:ext cx="5669351" cy="194445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5076" y="3501359"/>
            <a:ext cx="5669351" cy="3240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CorpoS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5076" y="6031676"/>
            <a:ext cx="5669351" cy="3240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CorpoS 15 pt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 noProof="0"/>
              <a:t>Injection duration Investigation| DIVe FIS | TT/S43-52 |</a:t>
            </a:r>
            <a:endParaRPr lang="en-US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1" y="0"/>
            <a:ext cx="936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28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15549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9">
          <p15:clr>
            <a:srgbClr val="A4A3A4"/>
          </p15:clr>
        </p15:guide>
        <p15:guide id="2" pos="7433">
          <p15:clr>
            <a:srgbClr val="A4A3A4"/>
          </p15:clr>
        </p15:guide>
        <p15:guide id="3" orient="horz" pos="232">
          <p15:clr>
            <a:srgbClr val="A4A3A4"/>
          </p15:clr>
        </p15:guide>
        <p15:guide id="4" orient="horz" pos="953">
          <p15:clr>
            <a:srgbClr val="A4A3A4"/>
          </p15:clr>
        </p15:guide>
        <p15:guide id="5" orient="horz" pos="4049">
          <p15:clr>
            <a:srgbClr val="A4A3A4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290" y="368386"/>
            <a:ext cx="11406187" cy="1008593"/>
          </a:xfrm>
        </p:spPr>
        <p:txBody>
          <a:bodyPr/>
          <a:lstStyle/>
          <a:p>
            <a:r>
              <a:rPr lang="en-US" noProof="0" dirty="0"/>
              <a:t>Headline on two lines in CorpoA (Headings) 30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37"/>
            <a:ext cx="5508000" cy="220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350"/>
            <a:ext cx="2797200" cy="194445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0" y="4045164"/>
            <a:ext cx="2797200" cy="194445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3502059"/>
            <a:ext cx="2797200" cy="3240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CorpoS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6032377"/>
            <a:ext cx="2797200" cy="3240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CorpoS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4849" y="1511650"/>
            <a:ext cx="2797200" cy="194445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4849" y="4044463"/>
            <a:ext cx="2797200" cy="194445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4849" y="3501359"/>
            <a:ext cx="2797200" cy="3240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CorpoS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4851" y="6031676"/>
            <a:ext cx="2797200" cy="3240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CorpoS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5425" y="1511650"/>
            <a:ext cx="2797200" cy="194445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5425" y="4044463"/>
            <a:ext cx="2797200" cy="194445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5425" y="3501359"/>
            <a:ext cx="2797200" cy="324075"/>
          </a:xfrm>
        </p:spPr>
        <p:txBody>
          <a:bodyPr/>
          <a:lstStyle>
            <a:lvl1pPr marL="0" marR="0" indent="0" algn="l" defTabSz="9139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CorpoS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5426" y="6031676"/>
            <a:ext cx="2797200" cy="3240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CorpoS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9004275" y="1511650"/>
            <a:ext cx="2797200" cy="194445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004275" y="4044463"/>
            <a:ext cx="2797200" cy="194445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9004275" y="3501359"/>
            <a:ext cx="2797200" cy="3240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CorpoS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9004275" y="6031676"/>
            <a:ext cx="2797200" cy="3240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CorpoS 15 pt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 noProof="0"/>
              <a:t>Injection duration Investigation| DIVe FIS | TT/S43-52 |</a:t>
            </a:r>
            <a:endParaRPr lang="en-US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1" y="0"/>
            <a:ext cx="936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</a:t>
            </a:r>
          </a:p>
        </p:txBody>
      </p:sp>
      <p:sp>
        <p:nvSpPr>
          <p:cNvPr id="31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</a:t>
            </a:r>
          </a:p>
        </p:txBody>
      </p:sp>
      <p:sp>
        <p:nvSpPr>
          <p:cNvPr id="32" name="Textplatzhalter 3"/>
          <p:cNvSpPr>
            <a:spLocks noGrp="1"/>
          </p:cNvSpPr>
          <p:nvPr>
            <p:ph type="body" sz="quarter" idx="40" hasCustomPrompt="1"/>
          </p:nvPr>
        </p:nvSpPr>
        <p:spPr>
          <a:xfrm>
            <a:off x="9928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9338267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9">
          <p15:clr>
            <a:srgbClr val="A4A3A4"/>
          </p15:clr>
        </p15:guide>
        <p15:guide id="2" pos="7433">
          <p15:clr>
            <a:srgbClr val="A4A3A4"/>
          </p15:clr>
        </p15:guide>
        <p15:guide id="3" orient="horz" pos="232">
          <p15:clr>
            <a:srgbClr val="A4A3A4"/>
          </p15:clr>
        </p15:guide>
        <p15:guide id="4" orient="horz" pos="953">
          <p15:clr>
            <a:srgbClr val="A4A3A4"/>
          </p15:clr>
        </p15:guide>
        <p15:guide id="5" orient="horz" pos="4049">
          <p15:clr>
            <a:srgbClr val="A4A3A4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6086" y="1512117"/>
            <a:ext cx="11405389" cy="3896410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7"/>
              </a:spcAft>
            </a:pPr>
            <a:endParaRPr lang="de-DE" sz="1999" dirty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6086" y="1512117"/>
            <a:ext cx="11405389" cy="3896410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1060" y="1512117"/>
            <a:ext cx="9635443" cy="3896410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6086" y="1511650"/>
            <a:ext cx="11405389" cy="3896878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6465" y="1511650"/>
            <a:ext cx="7724631" cy="3896410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288" y="1511649"/>
            <a:ext cx="11406188" cy="3896878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6086" y="2432391"/>
            <a:ext cx="11405389" cy="2055394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CorpoA (Headings) 30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289" y="5437261"/>
            <a:ext cx="11406187" cy="990429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CorpoS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884" y="1512118"/>
            <a:ext cx="1844160" cy="1913033"/>
          </a:xfrm>
          <a:solidFill>
            <a:srgbClr val="9F0002"/>
          </a:solidFill>
        </p:spPr>
        <p:txBody>
          <a:bodyPr/>
          <a:lstStyle>
            <a:lvl1pPr marL="0" marR="0" indent="0" algn="ctr" defTabSz="9139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8465" y="1512118"/>
            <a:ext cx="1844160" cy="1913033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288" y="3496488"/>
            <a:ext cx="3756756" cy="1911574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2401" y="2504409"/>
            <a:ext cx="3756756" cy="1911358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4151" y="4487787"/>
            <a:ext cx="1844160" cy="920274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2" y="4487787"/>
            <a:ext cx="1844160" cy="920274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6676" y="3496488"/>
            <a:ext cx="3754800" cy="1911574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6676" y="1512118"/>
            <a:ext cx="1844160" cy="1913033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61876" y="1512118"/>
            <a:ext cx="1844160" cy="1913033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3884" y="1512120"/>
            <a:ext cx="1844160" cy="920274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2" y="1512120"/>
            <a:ext cx="1844160" cy="920274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 noProof="0"/>
              <a:t>Injection duration Investigation| DIVe FIS | TT/S43-52 |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287" y="151237"/>
            <a:ext cx="5508000" cy="220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1" y="0"/>
            <a:ext cx="936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</a:t>
            </a:r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</a:t>
            </a:r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1479960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9">
          <p15:clr>
            <a:srgbClr val="A4A3A4"/>
          </p15:clr>
        </p15:guide>
        <p15:guide id="2" pos="7433">
          <p15:clr>
            <a:srgbClr val="A4A3A4"/>
          </p15:clr>
        </p15:guide>
        <p15:guide id="3" orient="horz" pos="232">
          <p15:clr>
            <a:srgbClr val="A4A3A4"/>
          </p15:clr>
        </p15:guide>
        <p15:guide id="4" orient="horz" pos="953">
          <p15:clr>
            <a:srgbClr val="A4A3A4"/>
          </p15:clr>
        </p15:guide>
        <p15:guide id="5" orient="horz" pos="4049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6086" y="1512117"/>
            <a:ext cx="11405389" cy="3896410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7"/>
              </a:spcAft>
            </a:pPr>
            <a:endParaRPr lang="de-DE" sz="1999" dirty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6086" y="1512117"/>
            <a:ext cx="11405389" cy="3896410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1060" y="1512117"/>
            <a:ext cx="9635443" cy="3896410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6086" y="1511650"/>
            <a:ext cx="11405389" cy="3896878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6465" y="1511650"/>
            <a:ext cx="7724631" cy="3896410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288" y="1511649"/>
            <a:ext cx="11406188" cy="3896878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6086" y="2432391"/>
            <a:ext cx="11405389" cy="2055394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CorpoA (Headings) 30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289" y="5437261"/>
            <a:ext cx="11406187" cy="990429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CorpoS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884" y="1512118"/>
            <a:ext cx="1844160" cy="1913033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8465" y="1512118"/>
            <a:ext cx="1844160" cy="1913033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288" y="3496488"/>
            <a:ext cx="3756756" cy="1911574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4151" y="3496488"/>
            <a:ext cx="1844160" cy="1911574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2" y="3496488"/>
            <a:ext cx="1844160" cy="1911574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6675" y="3496488"/>
            <a:ext cx="3756756" cy="1911574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6676" y="1512118"/>
            <a:ext cx="1844160" cy="1913033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61876" y="1512118"/>
            <a:ext cx="1844160" cy="1913033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1" y="1512118"/>
            <a:ext cx="3756756" cy="1913033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 noProof="0"/>
              <a:t>Injection duration Investigation| DIVe FIS | TT/S43-52 |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287" y="151237"/>
            <a:ext cx="5508000" cy="220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1" y="0"/>
            <a:ext cx="936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</a:t>
            </a:r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</a:t>
            </a:r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036512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3">
          <p15:clr>
            <a:srgbClr val="A4A3A4"/>
          </p15:clr>
        </p15:guide>
        <p15:guide id="2" orient="horz" pos="4049">
          <p15:clr>
            <a:srgbClr val="A4A3A4"/>
          </p15:clr>
        </p15:guide>
        <p15:guide id="3" orient="horz" pos="232">
          <p15:clr>
            <a:srgbClr val="A4A3A4"/>
          </p15:clr>
        </p15:guide>
        <p15:guide id="4" pos="7433">
          <p15:clr>
            <a:srgbClr val="A4A3A4"/>
          </p15:clr>
        </p15:guide>
        <p15:guide id="5" pos="249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 with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8350" cy="6859588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77" hasCustomPrompt="1"/>
          </p:nvPr>
        </p:nvSpPr>
        <p:spPr bwMode="gray">
          <a:xfrm>
            <a:off x="4528931" y="367084"/>
            <a:ext cx="2950430" cy="380558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CorpoS, 20 pt.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71" hasCustomPrompt="1"/>
          </p:nvPr>
        </p:nvSpPr>
        <p:spPr bwMode="gray">
          <a:xfrm>
            <a:off x="396001" y="1787095"/>
            <a:ext cx="2950430" cy="380558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CorpoS, 20 pt.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72" hasCustomPrompt="1"/>
          </p:nvPr>
        </p:nvSpPr>
        <p:spPr bwMode="gray">
          <a:xfrm>
            <a:off x="396001" y="4627115"/>
            <a:ext cx="2950430" cy="380558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CorpoS, 20 pt.</a:t>
            </a:r>
          </a:p>
        </p:txBody>
      </p:sp>
      <p:sp>
        <p:nvSpPr>
          <p:cNvPr id="62" name="Textplatzhalter 3"/>
          <p:cNvSpPr>
            <a:spLocks noGrp="1"/>
          </p:cNvSpPr>
          <p:nvPr>
            <p:ph type="body" sz="quarter" idx="75" hasCustomPrompt="1"/>
          </p:nvPr>
        </p:nvSpPr>
        <p:spPr bwMode="gray">
          <a:xfrm>
            <a:off x="396001" y="3207105"/>
            <a:ext cx="2950430" cy="380558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CorpoS, 20 pt.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96001" y="367084"/>
            <a:ext cx="2950430" cy="380558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CorpoS, 20 pt.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78" hasCustomPrompt="1"/>
          </p:nvPr>
        </p:nvSpPr>
        <p:spPr bwMode="gray">
          <a:xfrm>
            <a:off x="4528931" y="6045057"/>
            <a:ext cx="2950430" cy="380558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CorpoS, 20 pt.</a:t>
            </a:r>
          </a:p>
        </p:txBody>
      </p:sp>
      <p:sp>
        <p:nvSpPr>
          <p:cNvPr id="55" name="Textplatzhalter 3"/>
          <p:cNvSpPr>
            <a:spLocks noGrp="1"/>
          </p:cNvSpPr>
          <p:nvPr>
            <p:ph type="body" sz="quarter" idx="68" hasCustomPrompt="1"/>
          </p:nvPr>
        </p:nvSpPr>
        <p:spPr bwMode="gray">
          <a:xfrm>
            <a:off x="396001" y="6047125"/>
            <a:ext cx="2950430" cy="380558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CorpoS, 20 pt.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73" hasCustomPrompt="1"/>
          </p:nvPr>
        </p:nvSpPr>
        <p:spPr bwMode="gray">
          <a:xfrm>
            <a:off x="8851015" y="1786578"/>
            <a:ext cx="2950430" cy="380558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CorpoS, 20 pt.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74" hasCustomPrompt="1"/>
          </p:nvPr>
        </p:nvSpPr>
        <p:spPr bwMode="gray">
          <a:xfrm>
            <a:off x="8851015" y="4625565"/>
            <a:ext cx="2950430" cy="380558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CorpoS, 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76" hasCustomPrompt="1"/>
          </p:nvPr>
        </p:nvSpPr>
        <p:spPr bwMode="gray">
          <a:xfrm>
            <a:off x="8851015" y="3206071"/>
            <a:ext cx="2950430" cy="380558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CorpoS, 20 pt.</a:t>
            </a:r>
          </a:p>
        </p:txBody>
      </p:sp>
      <p:sp>
        <p:nvSpPr>
          <p:cNvPr id="56" name="Textplatzhalter 3"/>
          <p:cNvSpPr>
            <a:spLocks noGrp="1"/>
          </p:cNvSpPr>
          <p:nvPr>
            <p:ph type="body" sz="quarter" idx="69" hasCustomPrompt="1"/>
          </p:nvPr>
        </p:nvSpPr>
        <p:spPr bwMode="gray">
          <a:xfrm>
            <a:off x="8851015" y="367084"/>
            <a:ext cx="2950430" cy="380558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CorpoS, 20 pt.</a:t>
            </a:r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70" hasCustomPrompt="1"/>
          </p:nvPr>
        </p:nvSpPr>
        <p:spPr bwMode="gray">
          <a:xfrm>
            <a:off x="8851015" y="6045057"/>
            <a:ext cx="2950430" cy="380558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CorpoS, 20 pt.</a:t>
            </a:r>
          </a:p>
        </p:txBody>
      </p:sp>
      <p:cxnSp>
        <p:nvCxnSpPr>
          <p:cNvPr id="47" name="32,78 // 15,84"/>
          <p:cNvCxnSpPr/>
          <p:nvPr userDrawn="1"/>
        </p:nvCxnSpPr>
        <p:spPr bwMode="black">
          <a:xfrm>
            <a:off x="11801474" y="6967612"/>
            <a:ext cx="0" cy="360083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1" y="0"/>
            <a:ext cx="936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79" hasCustomPrompt="1"/>
          </p:nvPr>
        </p:nvSpPr>
        <p:spPr>
          <a:xfrm>
            <a:off x="9928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438021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33">
          <p15:clr>
            <a:srgbClr val="A4A3A4"/>
          </p15:clr>
        </p15:guide>
        <p15:guide id="2" pos="249">
          <p15:clr>
            <a:srgbClr val="A4A3A4"/>
          </p15:clr>
        </p15:guide>
        <p15:guide id="4" orient="horz" pos="4049">
          <p15:clr>
            <a:srgbClr val="A4A3A4"/>
          </p15:clr>
        </p15:guide>
        <p15:guide id="5" orient="horz" pos="232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53" y="1"/>
            <a:ext cx="12199205" cy="6859588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20771"/>
            <a:ext cx="6065558" cy="223964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203152" y="-824"/>
            <a:ext cx="2995201" cy="6860412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5176" y="0"/>
            <a:ext cx="2995717" cy="108385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5176" y="1155868"/>
            <a:ext cx="2995717" cy="3392885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5176" y="4620770"/>
            <a:ext cx="2995459" cy="2238818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395289" y="368386"/>
            <a:ext cx="5510869" cy="1008593"/>
          </a:xfrm>
        </p:spPr>
        <p:txBody>
          <a:bodyPr/>
          <a:lstStyle/>
          <a:p>
            <a:r>
              <a:rPr lang="en-US" noProof="0" dirty="0"/>
              <a:t>Headline on two lines in CorpoA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395288" y="1512352"/>
            <a:ext cx="5510869" cy="2949984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/>
              <a:t>CorpoS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7" y="151237"/>
            <a:ext cx="5508000" cy="220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1" y="0"/>
            <a:ext cx="936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</a:t>
            </a:r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568331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9">
          <p15:clr>
            <a:srgbClr val="A4A3A4"/>
          </p15:clr>
        </p15:guide>
        <p15:guide id="2" pos="7433">
          <p15:clr>
            <a:srgbClr val="A4A3A4"/>
          </p15:clr>
        </p15:guide>
        <p15:guide id="3" orient="horz" pos="953">
          <p15:clr>
            <a:srgbClr val="A4A3A4"/>
          </p15:clr>
        </p15:guide>
        <p15:guide id="4" orient="horz" pos="4049">
          <p15:clr>
            <a:srgbClr val="A4A3A4"/>
          </p15:clr>
        </p15:guide>
        <p15:guide id="5" orient="horz" pos="232">
          <p15:clr>
            <a:srgbClr val="A4A3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53" y="1"/>
            <a:ext cx="12199205" cy="6859588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836"/>
            <a:ext cx="6065558" cy="4548753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0"/>
            <a:ext cx="6065558" cy="2238818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203152" y="2"/>
            <a:ext cx="2995201" cy="6859589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5176" y="5775737"/>
            <a:ext cx="2995717" cy="108385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176" y="2309935"/>
            <a:ext cx="2995717" cy="3393786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176" y="0"/>
            <a:ext cx="2995717" cy="2238818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1" y="0"/>
            <a:ext cx="936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</a:t>
            </a:r>
          </a:p>
        </p:txBody>
      </p:sp>
      <p:sp>
        <p:nvSpPr>
          <p:cNvPr id="3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</a:t>
            </a:r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533485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9">
          <p15:clr>
            <a:srgbClr val="A4A3A4"/>
          </p15:clr>
        </p15:guide>
        <p15:guide id="2" pos="7433">
          <p15:clr>
            <a:srgbClr val="A4A3A4"/>
          </p15:clr>
        </p15:guide>
        <p15:guide id="3" orient="horz" pos="232">
          <p15:clr>
            <a:srgbClr val="A4A3A4"/>
          </p15:clr>
        </p15:guide>
        <p15:guide id="5" orient="horz" pos="4049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53" y="1"/>
            <a:ext cx="12199205" cy="6859588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5558" cy="6859589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203152" y="0"/>
            <a:ext cx="2995201" cy="108385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5952" y="5775737"/>
            <a:ext cx="2994942" cy="108385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952" y="2309935"/>
            <a:ext cx="2994942" cy="3393786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950" y="0"/>
            <a:ext cx="2996760" cy="2238818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203152" y="1155868"/>
            <a:ext cx="2995199" cy="3392885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203152" y="4620770"/>
            <a:ext cx="2995199" cy="2238818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73201" y="0"/>
            <a:ext cx="936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</a:t>
            </a:r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4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</a:t>
            </a:r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8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5119683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9">
          <p15:clr>
            <a:srgbClr val="A4A3A4"/>
          </p15:clr>
        </p15:guide>
        <p15:guide id="2" pos="7433">
          <p15:clr>
            <a:srgbClr val="A4A3A4"/>
          </p15:clr>
        </p15:guide>
        <p15:guide id="3" orient="horz" pos="232">
          <p15:clr>
            <a:srgbClr val="A4A3A4"/>
          </p15:clr>
        </p15:guide>
        <p15:guide id="4" orient="horz" pos="4049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8350" cy="6859588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395289" y="368385"/>
            <a:ext cx="11410740" cy="540125"/>
          </a:xfrm>
        </p:spPr>
        <p:txBody>
          <a:bodyPr/>
          <a:lstStyle>
            <a:lvl1pPr>
              <a:defRPr sz="3000" baseline="0"/>
            </a:lvl1pPr>
          </a:lstStyle>
          <a:p>
            <a:r>
              <a:rPr lang="en-US" noProof="0" dirty="0"/>
              <a:t>Optional headline on one line in CorpoA (Headings) 30 pt.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1" y="0"/>
            <a:ext cx="936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844039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A4A3A4"/>
          </p15:clr>
        </p15:guide>
        <p15:guide id="3" orient="horz" pos="4049">
          <p15:clr>
            <a:srgbClr val="A4A3A4"/>
          </p15:clr>
        </p15:guide>
        <p15:guide id="4" pos="249">
          <p15:clr>
            <a:srgbClr val="A4A3A4"/>
          </p15:clr>
        </p15:guide>
        <p15:guide id="5" pos="7433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"/>
          <p:cNvSpPr>
            <a:spLocks noGrp="1"/>
          </p:cNvSpPr>
          <p:nvPr>
            <p:ph type="sldNum" sz="quarter" idx="4"/>
          </p:nvPr>
        </p:nvSpPr>
        <p:spPr>
          <a:xfrm>
            <a:off x="11483455" y="6553519"/>
            <a:ext cx="32416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1000" b="0" i="0" smtClean="0">
                <a:latin typeface="+mn-lt"/>
              </a:defRPr>
            </a:lvl1pPr>
          </a:lstStyle>
          <a:p>
            <a:pPr defTabSz="914911">
              <a:lnSpc>
                <a:spcPct val="108000"/>
              </a:lnSpc>
              <a:spcAft>
                <a:spcPts val="1008"/>
              </a:spcAft>
            </a:pPr>
            <a:fld id="{52531704-8F80-415D-BD2B-6B9991AE822F}" type="slidenum">
              <a:rPr lang="de-DE" smtClean="0"/>
              <a:pPr defTabSz="914911">
                <a:lnSpc>
                  <a:spcPct val="108000"/>
                </a:lnSpc>
                <a:spcAft>
                  <a:spcPts val="1008"/>
                </a:spcAft>
              </a:pPr>
              <a:t>‹#›</a:t>
            </a:fld>
            <a:endParaRPr lang="de-DE" dirty="0"/>
          </a:p>
        </p:txBody>
      </p:sp>
      <p:sp>
        <p:nvSpPr>
          <p:cNvPr id="8" name="Headlin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9223375" y="69796"/>
            <a:ext cx="2736648" cy="297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6798" tIns="48399" rIns="96798" bIns="4839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l" eaLnBrk="1" hangingPunct="1">
              <a:defRPr/>
            </a:pPr>
            <a:r>
              <a:rPr lang="en-US" sz="1300" dirty="0">
                <a:latin typeface="CorpoS" pitchFamily="2" charset="0"/>
              </a:rPr>
              <a:t>Daimler</a:t>
            </a:r>
            <a:r>
              <a:rPr lang="en-US" sz="1300" baseline="0" dirty="0">
                <a:latin typeface="CorpoS" pitchFamily="2" charset="0"/>
              </a:rPr>
              <a:t> Truck Innovation Center India</a:t>
            </a:r>
            <a:endParaRPr lang="en-US" sz="1900" dirty="0">
              <a:latin typeface="CorpoS" pitchFamily="2" charset="0"/>
            </a:endParaRPr>
          </a:p>
        </p:txBody>
      </p:sp>
      <p:sp>
        <p:nvSpPr>
          <p:cNvPr id="2" name="Footer">
            <a:extLst>
              <a:ext uri="{FF2B5EF4-FFF2-40B4-BE49-F238E27FC236}">
                <a16:creationId xmlns:a16="http://schemas.microsoft.com/office/drawing/2014/main" id="{B6E9A3AD-5AB8-1E4D-931C-7D29F66267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60575" y="6528476"/>
            <a:ext cx="785208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de-DE" sz="1000" b="0" i="0" smtClean="0">
                <a:latin typeface="+mn-lt"/>
              </a:defRPr>
            </a:lvl1pPr>
          </a:lstStyle>
          <a:p>
            <a:pPr defTabSz="914911">
              <a:lnSpc>
                <a:spcPct val="108000"/>
              </a:lnSpc>
              <a:spcAft>
                <a:spcPts val="1008"/>
              </a:spcAft>
            </a:pPr>
            <a:r>
              <a:rPr lang="en-US"/>
              <a:t>Injection duration Investigation| DIVe FIS | TT/S43-52 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70052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47489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MB Cars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8097" cy="6858589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95287" y="3848991"/>
            <a:ext cx="9400894" cy="1044543"/>
          </a:xfrm>
        </p:spPr>
        <p:txBody>
          <a:bodyPr/>
          <a:lstStyle>
            <a:lvl1pPr>
              <a:lnSpc>
                <a:spcPts val="3998"/>
              </a:lnSpc>
              <a:defRPr sz="3000"/>
            </a:lvl1pPr>
          </a:lstStyle>
          <a:p>
            <a:r>
              <a:rPr lang="en-US" dirty="0"/>
              <a:t>Presentation title on one line in CorpoA (Headings) 30 pt.</a:t>
            </a:r>
            <a:br>
              <a:rPr lang="en-US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6000" y="4933505"/>
            <a:ext cx="9400894" cy="755812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pt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73"/>
            <a:ext cx="12198350" cy="3406389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1" y="0"/>
            <a:ext cx="936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3" name="Folie Wechsel/Zurücksetzen/Textebenen"/>
          <p:cNvSpPr txBox="1"/>
          <p:nvPr userDrawn="1"/>
        </p:nvSpPr>
        <p:spPr>
          <a:xfrm rot="10800000" flipH="1" flipV="1">
            <a:off x="-2088000" y="1548358"/>
            <a:ext cx="1980000" cy="1980458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>
                <a:solidFill>
                  <a:schemeClr val="accent5"/>
                </a:solidFill>
                <a:latin typeface="+mn-lt"/>
              </a:rPr>
              <a:t>Reset the slide back to its 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>
                <a:solidFill>
                  <a:schemeClr val="accent5"/>
                </a:solidFill>
                <a:latin typeface="+mn-lt"/>
              </a:rPr>
              <a:t>original form via menu bar: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>
                <a:solidFill>
                  <a:schemeClr val="accent5"/>
                </a:solidFill>
                <a:latin typeface="+mn-lt"/>
              </a:rPr>
              <a:t>Home // Slides // Reset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99" b="0" baseline="0" noProof="0" dirty="0">
              <a:solidFill>
                <a:schemeClr val="accent5"/>
              </a:solidFill>
              <a:latin typeface="+mn-lt"/>
            </a:endParaRP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>
                <a:solidFill>
                  <a:schemeClr val="accent5"/>
                </a:solidFill>
                <a:latin typeface="+mn-lt"/>
              </a:rPr>
              <a:t>Change the slide layout 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>
                <a:solidFill>
                  <a:schemeClr val="accent5"/>
                </a:solidFill>
                <a:latin typeface="+mn-lt"/>
              </a:rPr>
              <a:t>via menu bar:</a:t>
            </a:r>
          </a:p>
          <a:p>
            <a:pPr marL="0" marR="0" lvl="0" indent="0" algn="r" defTabSz="9139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>
                <a:solidFill>
                  <a:schemeClr val="accent5"/>
                </a:solidFill>
                <a:latin typeface="+mn-lt"/>
              </a:rPr>
              <a:t>Home // Slides // Layout</a:t>
            </a:r>
          </a:p>
          <a:p>
            <a:pPr marL="0" marR="0" lvl="0" indent="0" algn="r" defTabSz="9139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99" b="0" baseline="0" noProof="0" dirty="0">
              <a:solidFill>
                <a:schemeClr val="accent5"/>
              </a:solidFill>
              <a:latin typeface="+mn-lt"/>
            </a:endParaRPr>
          </a:p>
          <a:p>
            <a:pPr marL="0" marR="0" lvl="0" indent="0" algn="r" defTabSz="9139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>
                <a:solidFill>
                  <a:schemeClr val="accent5"/>
                </a:solidFill>
                <a:latin typeface="+mn-lt"/>
              </a:rPr>
              <a:t>Change the text level</a:t>
            </a:r>
          </a:p>
          <a:p>
            <a:pPr marL="0" marR="0" lvl="0" indent="0" algn="r" defTabSz="9139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>
                <a:solidFill>
                  <a:schemeClr val="accent5"/>
                </a:solidFill>
                <a:latin typeface="+mn-lt"/>
              </a:rPr>
              <a:t>via menu bar: </a:t>
            </a:r>
            <a:br>
              <a:rPr lang="en-US" sz="999" b="0" baseline="0" noProof="0" dirty="0">
                <a:solidFill>
                  <a:schemeClr val="accent5"/>
                </a:solidFill>
                <a:latin typeface="+mn-lt"/>
              </a:rPr>
            </a:br>
            <a:r>
              <a:rPr lang="en-US" sz="999" b="0" baseline="0" noProof="0" dirty="0">
                <a:solidFill>
                  <a:schemeClr val="accent5"/>
                </a:solidFill>
                <a:latin typeface="+mn-lt"/>
              </a:rPr>
              <a:t>Home // Paragraph // Increase/</a:t>
            </a:r>
          </a:p>
          <a:p>
            <a:pPr marL="0" marR="0" lvl="0" indent="0" algn="r" defTabSz="9139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>
                <a:solidFill>
                  <a:schemeClr val="accent5"/>
                </a:solidFill>
                <a:latin typeface="+mn-lt"/>
              </a:rPr>
              <a:t>Decrease List Level</a:t>
            </a:r>
          </a:p>
        </p:txBody>
      </p:sp>
      <p:sp>
        <p:nvSpPr>
          <p:cNvPr id="14" name="Design wechsel"/>
          <p:cNvSpPr txBox="1"/>
          <p:nvPr userDrawn="1"/>
        </p:nvSpPr>
        <p:spPr>
          <a:xfrm rot="10800000" flipH="1" flipV="1">
            <a:off x="-2088000" y="403293"/>
            <a:ext cx="1980000" cy="900208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>
                <a:solidFill>
                  <a:schemeClr val="accent5"/>
                </a:solidFill>
                <a:latin typeface="+mn-lt"/>
              </a:rPr>
              <a:t>Alternating between white and black slide layouts via menu bar: </a:t>
            </a:r>
            <a:br>
              <a:rPr lang="en-US" sz="999" b="0" baseline="0" noProof="0" dirty="0">
                <a:solidFill>
                  <a:schemeClr val="accent5"/>
                </a:solidFill>
                <a:latin typeface="+mn-lt"/>
              </a:rPr>
            </a:br>
            <a:r>
              <a:rPr lang="en-US" sz="999" b="0" baseline="0" noProof="0" dirty="0">
                <a:solidFill>
                  <a:schemeClr val="accent5"/>
                </a:solidFill>
                <a:latin typeface="+mn-lt"/>
              </a:rPr>
              <a:t>Design // Themes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>
                <a:solidFill>
                  <a:schemeClr val="accent5"/>
                </a:solidFill>
                <a:latin typeface="+mn-lt"/>
              </a:rPr>
              <a:t>(Right click: </a:t>
            </a:r>
            <a:r>
              <a:rPr lang="en-US" sz="999" b="0" i="1" baseline="0" noProof="0" dirty="0">
                <a:solidFill>
                  <a:schemeClr val="accent5"/>
                </a:solidFill>
                <a:latin typeface="+mn-lt"/>
              </a:rPr>
              <a:t>Apply to All Slides </a:t>
            </a:r>
            <a:r>
              <a:rPr lang="en-US" sz="999" b="0" baseline="0" noProof="0" dirty="0">
                <a:solidFill>
                  <a:schemeClr val="accent5"/>
                </a:solidFill>
                <a:latin typeface="+mn-lt"/>
              </a:rPr>
              <a:t>or </a:t>
            </a:r>
            <a:br>
              <a:rPr lang="en-US" sz="999" b="0" baseline="0" noProof="0" dirty="0">
                <a:solidFill>
                  <a:schemeClr val="accent5"/>
                </a:solidFill>
                <a:latin typeface="+mn-lt"/>
              </a:rPr>
            </a:br>
            <a:r>
              <a:rPr lang="en-US" sz="999" b="0" i="1" baseline="0" noProof="0" dirty="0">
                <a:solidFill>
                  <a:schemeClr val="accent5"/>
                </a:solidFill>
                <a:latin typeface="+mn-lt"/>
              </a:rPr>
              <a:t>Apply to Selected Slide</a:t>
            </a:r>
            <a:r>
              <a:rPr lang="en-US" sz="999" b="0" baseline="0" noProof="0" dirty="0">
                <a:solidFill>
                  <a:schemeClr val="accent5"/>
                </a:solidFill>
                <a:latin typeface="+mn-lt"/>
              </a:rPr>
              <a:t>)</a:t>
            </a:r>
          </a:p>
        </p:txBody>
      </p:sp>
      <p:pic>
        <p:nvPicPr>
          <p:cNvPr id="15" name="Listenebene erhöh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5200" y="3564824"/>
            <a:ext cx="635538" cy="32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Listenebene verringer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5200" y="4032933"/>
            <a:ext cx="635538" cy="32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// Listenebene erhöhen"/>
          <p:cNvSpPr txBox="1"/>
          <p:nvPr userDrawn="1"/>
        </p:nvSpPr>
        <p:spPr>
          <a:xfrm>
            <a:off x="-1547999" y="3564824"/>
            <a:ext cx="720000" cy="3240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9139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>
                <a:solidFill>
                  <a:schemeClr val="accent5"/>
                </a:solidFill>
                <a:latin typeface="+mn-lt"/>
              </a:rPr>
              <a:t>Increase</a:t>
            </a:r>
          </a:p>
          <a:p>
            <a:pPr marL="0" marR="0" lvl="0" indent="0" algn="r" defTabSz="9139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>
                <a:solidFill>
                  <a:schemeClr val="accent5"/>
                </a:solidFill>
                <a:latin typeface="+mn-lt"/>
              </a:rPr>
              <a:t>List Level</a:t>
            </a:r>
          </a:p>
        </p:txBody>
      </p:sp>
      <p:sp>
        <p:nvSpPr>
          <p:cNvPr id="18" name="Text // Listenebene verringern"/>
          <p:cNvSpPr txBox="1"/>
          <p:nvPr userDrawn="1"/>
        </p:nvSpPr>
        <p:spPr>
          <a:xfrm>
            <a:off x="-1547999" y="4032933"/>
            <a:ext cx="720000" cy="3240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9139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>
                <a:solidFill>
                  <a:schemeClr val="accent5"/>
                </a:solidFill>
                <a:latin typeface="+mn-lt"/>
              </a:rPr>
              <a:t>Decrease </a:t>
            </a:r>
          </a:p>
          <a:p>
            <a:pPr marL="0" marR="0" lvl="0" indent="0" algn="r" defTabSz="9139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>
                <a:solidFill>
                  <a:schemeClr val="accent5"/>
                </a:solidFill>
                <a:latin typeface="+mn-lt"/>
              </a:rPr>
              <a:t>List Level</a:t>
            </a:r>
          </a:p>
        </p:txBody>
      </p:sp>
      <p:sp>
        <p:nvSpPr>
          <p:cNvPr id="19" name="Hilfslinien"/>
          <p:cNvSpPr txBox="1"/>
          <p:nvPr userDrawn="1"/>
        </p:nvSpPr>
        <p:spPr>
          <a:xfrm rot="10800000" flipH="1" flipV="1">
            <a:off x="432776" y="-468109"/>
            <a:ext cx="3290136" cy="360083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425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9" b="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how guides via menu bar: View // Show // tick Guides</a:t>
            </a:r>
          </a:p>
        </p:txBody>
      </p:sp>
      <p:sp>
        <p:nvSpPr>
          <p:cNvPr id="20" name="Hilfslinien"/>
          <p:cNvSpPr txBox="1"/>
          <p:nvPr userDrawn="1"/>
        </p:nvSpPr>
        <p:spPr>
          <a:xfrm rot="10800000" flipH="1" flipV="1">
            <a:off x="7107288" y="-468108"/>
            <a:ext cx="4680520" cy="360083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425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9" b="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served areas for stamps and icons</a:t>
            </a:r>
          </a:p>
        </p:txBody>
      </p:sp>
      <p:sp>
        <p:nvSpPr>
          <p:cNvPr id="21" name="Fußzeile"/>
          <p:cNvSpPr txBox="1"/>
          <p:nvPr userDrawn="1"/>
        </p:nvSpPr>
        <p:spPr>
          <a:xfrm rot="10800000" flipH="1" flipV="1">
            <a:off x="432775" y="6967612"/>
            <a:ext cx="10993626" cy="360083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425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>
                <a:solidFill>
                  <a:schemeClr val="accent5"/>
                </a:solidFill>
                <a:latin typeface="+mn-lt"/>
              </a:rPr>
              <a:t>Adjust footer (per slide or for several/all slides) via menu bar: Insert // Text // Header &amp; Footer</a:t>
            </a:r>
          </a:p>
        </p:txBody>
      </p:sp>
      <p:grpSp>
        <p:nvGrpSpPr>
          <p:cNvPr id="23" name="Gruppieren 22"/>
          <p:cNvGrpSpPr/>
          <p:nvPr userDrawn="1"/>
        </p:nvGrpSpPr>
        <p:grpSpPr>
          <a:xfrm>
            <a:off x="-1332000" y="-431088"/>
            <a:ext cx="1224000" cy="745297"/>
            <a:chOff x="-1331307" y="-430988"/>
            <a:chExt cx="1223363" cy="745124"/>
          </a:xfrm>
        </p:grpSpPr>
        <p:pic>
          <p:nvPicPr>
            <p:cNvPr id="24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1307" y="-430988"/>
              <a:ext cx="1221702" cy="745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" name="Picture 3"/>
            <p:cNvPicPr>
              <a:picLocks noChangeAspect="1" noChangeArrowheads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36" t="37704" r="2549" b="2753"/>
            <a:stretch/>
          </p:blipFill>
          <p:spPr bwMode="auto">
            <a:xfrm>
              <a:off x="-1331307" y="-171400"/>
              <a:ext cx="1223363" cy="485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0544047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33">
          <p15:clr>
            <a:srgbClr val="A4A3A4"/>
          </p15:clr>
        </p15:guide>
        <p15:guide id="2" pos="249">
          <p15:clr>
            <a:srgbClr val="A4A3A4"/>
          </p15:clr>
        </p15:guide>
        <p15:guide id="3" orient="horz" pos="197">
          <p15:clr>
            <a:srgbClr val="A4A3A4"/>
          </p15:clr>
        </p15:guide>
        <p15:guide id="4" orient="horz" pos="2343">
          <p15:clr>
            <a:srgbClr val="A4A3A4"/>
          </p15:clr>
        </p15:guide>
        <p15:guide id="5" orient="horz" pos="4049">
          <p15:clr>
            <a:srgbClr val="A4A3A4"/>
          </p15:clr>
        </p15:guide>
        <p15:guide id="6" orient="horz" pos="2424">
          <p15:clr>
            <a:srgbClr val="A4A3A4"/>
          </p15:clr>
        </p15:guide>
        <p15:guide id="7" orient="horz" pos="3107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CorpoA (Headings) 30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37"/>
            <a:ext cx="5508000" cy="220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0" y="1511650"/>
            <a:ext cx="11410740" cy="4140959"/>
          </a:xfrm>
        </p:spPr>
        <p:txBody>
          <a:bodyPr numCol="2" spcCol="244765"/>
          <a:lstStyle>
            <a:lvl1pPr marL="431809" indent="-431809">
              <a:buFont typeface="+mj-lt"/>
              <a:buAutoNum type="arabicPeriod"/>
              <a:defRPr baseline="0"/>
            </a:lvl1pPr>
            <a:lvl2pPr marL="863619" indent="-431809">
              <a:buFont typeface="+mj-lt"/>
              <a:buAutoNum type="alphaLcPeriod"/>
              <a:defRPr/>
            </a:lvl2pPr>
            <a:lvl3pPr marL="863619" indent="-431809">
              <a:buFont typeface="+mj-lt"/>
              <a:buAutoNum type="alphaLcPeriod"/>
              <a:defRPr sz="1999"/>
            </a:lvl3pPr>
            <a:lvl4pPr marL="863619" indent="-431809">
              <a:buFont typeface="+mj-lt"/>
              <a:buAutoNum type="alphaLcPeriod"/>
              <a:defRPr sz="1999"/>
            </a:lvl4pPr>
            <a:lvl5pPr marL="863619" indent="-431809">
              <a:buFont typeface="+mj-lt"/>
              <a:buAutoNum type="alphaLcPeriod"/>
              <a:defRPr sz="1999"/>
            </a:lvl5pPr>
            <a:lvl6pPr marL="863619" indent="-431809">
              <a:buFont typeface="+mj-lt"/>
              <a:buAutoNum type="alphaLcPeriod"/>
              <a:defRPr sz="1999"/>
            </a:lvl6pPr>
            <a:lvl7pPr marL="863619" indent="-431809">
              <a:buFont typeface="+mj-lt"/>
              <a:buAutoNum type="alphaLcPeriod"/>
              <a:defRPr sz="1999"/>
            </a:lvl7pPr>
            <a:lvl8pPr marL="863619" indent="-431809">
              <a:buFont typeface="+mj-lt"/>
              <a:buAutoNum type="alphaLcPeriod"/>
              <a:defRPr sz="1999"/>
            </a:lvl8pPr>
            <a:lvl9pPr marL="863619" indent="-431809">
              <a:buFont typeface="+mj-lt"/>
              <a:buAutoNum type="alphaLcPeriod"/>
              <a:defRPr sz="1999"/>
            </a:lvl9pPr>
          </a:lstStyle>
          <a:p>
            <a:pPr lvl="0"/>
            <a:r>
              <a:rPr lang="en-US" noProof="0" dirty="0"/>
              <a:t>Insert agenda point in CorpoS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noProof="0"/>
              <a:t>Injection duration Investigation| DIVe FIS | TT/S43-52 |</a:t>
            </a:r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1" y="0"/>
            <a:ext cx="936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198478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9">
          <p15:clr>
            <a:srgbClr val="A4A3A4"/>
          </p15:clr>
        </p15:guide>
        <p15:guide id="2" pos="7433">
          <p15:clr>
            <a:srgbClr val="A4A3A4"/>
          </p15:clr>
        </p15:guide>
        <p15:guide id="3" orient="horz" pos="232">
          <p15:clr>
            <a:srgbClr val="A4A3A4"/>
          </p15:clr>
        </p15:guide>
        <p15:guide id="4" orient="horz" pos="953">
          <p15:clr>
            <a:srgbClr val="A4A3A4"/>
          </p15:clr>
        </p15:guide>
        <p15:guide id="5" orient="horz" pos="4049">
          <p15:clr>
            <a:srgbClr val="A4A3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CorpoA (Headings) 30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37"/>
            <a:ext cx="5508000" cy="220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651"/>
            <a:ext cx="11410740" cy="49160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/>
              <a:t>CorpoS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/>
              <a:t>Injection duration Investigation| DIVe FIS | TT/S43-52 |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1" y="0"/>
            <a:ext cx="936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257555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A4A3A4"/>
          </p15:clr>
        </p15:guide>
        <p15:guide id="2" orient="horz" pos="953">
          <p15:clr>
            <a:srgbClr val="A4A3A4"/>
          </p15:clr>
        </p15:guide>
        <p15:guide id="3" orient="horz" pos="4049">
          <p15:clr>
            <a:srgbClr val="A4A3A4"/>
          </p15:clr>
        </p15:guide>
        <p15:guide id="4" pos="249">
          <p15:clr>
            <a:srgbClr val="A4A3A4"/>
          </p15:clr>
        </p15:guide>
        <p15:guide id="5" pos="7433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im weißen Satzspieg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95495" y="368386"/>
            <a:ext cx="11412128" cy="1008593"/>
          </a:xfrm>
        </p:spPr>
        <p:txBody>
          <a:bodyPr/>
          <a:lstStyle/>
          <a:p>
            <a:r>
              <a:rPr lang="en-US" noProof="0" dirty="0"/>
              <a:t>Headline on two lines in CorpoA (Headings) 30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  <a:endParaRPr lang="de-DE" noProof="0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493" y="151237"/>
            <a:ext cx="5510869" cy="220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15" name="Inhaltsplatzhalter 6"/>
          <p:cNvSpPr>
            <a:spLocks noGrp="1"/>
          </p:cNvSpPr>
          <p:nvPr>
            <p:ph sz="quarter" idx="14" hasCustomPrompt="1"/>
          </p:nvPr>
        </p:nvSpPr>
        <p:spPr bwMode="gray">
          <a:xfrm>
            <a:off x="395494" y="1511651"/>
            <a:ext cx="11412128" cy="4916038"/>
          </a:xfrm>
          <a:solidFill>
            <a:srgbClr val="FFFFFF"/>
          </a:solidFill>
        </p:spPr>
        <p:txBody>
          <a:bodyPr lIns="72000" tIns="72000" rIns="72000" bIns="72000"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  <a:lvl6pPr>
              <a:defRPr>
                <a:solidFill>
                  <a:srgbClr val="000000"/>
                </a:solidFill>
              </a:defRPr>
            </a:lvl6pPr>
            <a:lvl7pPr>
              <a:defRPr>
                <a:solidFill>
                  <a:srgbClr val="000000"/>
                </a:solidFill>
              </a:defRPr>
            </a:lvl7pPr>
            <a:lvl8pPr>
              <a:defRPr>
                <a:solidFill>
                  <a:srgbClr val="000000"/>
                </a:solidFill>
              </a:defRPr>
            </a:lvl8pPr>
            <a:lvl9pPr>
              <a:defRPr>
                <a:solidFill>
                  <a:srgbClr val="000000"/>
                </a:solidFill>
              </a:defRPr>
            </a:lvl9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/>
              <a:t>CorpoS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8038" y="6553517"/>
            <a:ext cx="785208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Injection duration Investigation| DIVe FIS | TT/S43-52 |</a:t>
            </a:r>
            <a:endParaRPr lang="en-US" dirty="0"/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9982" y="6553517"/>
            <a:ext cx="32416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1" y="0"/>
            <a:ext cx="936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268903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A4A3A4"/>
          </p15:clr>
        </p15:guide>
        <p15:guide id="2" orient="horz" pos="953">
          <p15:clr>
            <a:srgbClr val="A4A3A4"/>
          </p15:clr>
        </p15:guide>
        <p15:guide id="3" orient="horz" pos="4049">
          <p15:clr>
            <a:srgbClr val="A4A3A4"/>
          </p15:clr>
        </p15:guide>
        <p15:guide id="4" pos="7433">
          <p15:clr>
            <a:srgbClr val="A4A3A4"/>
          </p15:clr>
        </p15:guide>
        <p15:guide id="5" pos="249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493" y="2484575"/>
            <a:ext cx="11412130" cy="2700625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Insert tabl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492" y="1512351"/>
            <a:ext cx="11411454" cy="720167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/>
              <a:t>Table headline in </a:t>
            </a:r>
            <a:r>
              <a:rPr lang="en-US" noProof="0" dirty="0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20 pt. bold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496" y="5329235"/>
            <a:ext cx="11411451" cy="1098454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 baseline="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dirty="0"/>
              <a:t>Table description  in </a:t>
            </a:r>
            <a:r>
              <a:rPr lang="en-US" noProof="0" dirty="0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37"/>
            <a:ext cx="5508000" cy="220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86"/>
            <a:ext cx="11410740" cy="1008593"/>
          </a:xfrm>
        </p:spPr>
        <p:txBody>
          <a:bodyPr/>
          <a:lstStyle/>
          <a:p>
            <a:r>
              <a:rPr lang="en-US" noProof="0" dirty="0"/>
              <a:t>Headline on two lines in CorpoA (Headings) 30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  <a:endParaRPr lang="en-US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Injection duration Investigation| DIVe FIS | TT/S43-52 |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D1D1349-391B-44DC-865F-5996B3E40F2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1" y="0"/>
            <a:ext cx="936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7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1410710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9">
          <p15:clr>
            <a:srgbClr val="A4A3A4"/>
          </p15:clr>
        </p15:guide>
        <p15:guide id="2" pos="7433">
          <p15:clr>
            <a:srgbClr val="A4A3A4"/>
          </p15:clr>
        </p15:guide>
        <p15:guide id="3" orient="horz" pos="953">
          <p15:clr>
            <a:srgbClr val="A4A3A4"/>
          </p15:clr>
        </p15:guide>
        <p15:guide id="4" orient="horz" pos="4049">
          <p15:clr>
            <a:srgbClr val="A4A3A4"/>
          </p15:clr>
        </p15:guide>
        <p15:guide id="5" orient="horz" pos="232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22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7.xml"/><Relationship Id="rId21" Type="http://schemas.openxmlformats.org/officeDocument/2006/relationships/slideLayout" Target="../slideLayouts/slideLayout25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21.xml"/><Relationship Id="rId25" Type="http://schemas.openxmlformats.org/officeDocument/2006/relationships/slideLayout" Target="../slideLayouts/slideLayout29.xml"/><Relationship Id="rId2" Type="http://schemas.openxmlformats.org/officeDocument/2006/relationships/slideLayout" Target="../slideLayouts/slideLayout6.xml"/><Relationship Id="rId16" Type="http://schemas.openxmlformats.org/officeDocument/2006/relationships/slideLayout" Target="../slideLayouts/slideLayout20.xml"/><Relationship Id="rId20" Type="http://schemas.openxmlformats.org/officeDocument/2006/relationships/slideLayout" Target="../slideLayouts/slideLayout24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24" Type="http://schemas.openxmlformats.org/officeDocument/2006/relationships/slideLayout" Target="../slideLayouts/slideLayout28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23" Type="http://schemas.openxmlformats.org/officeDocument/2006/relationships/slideLayout" Target="../slideLayouts/slideLayout27.xml"/><Relationship Id="rId28" Type="http://schemas.openxmlformats.org/officeDocument/2006/relationships/oleObject" Target="../embeddings/oleObject2.bin"/><Relationship Id="rId10" Type="http://schemas.openxmlformats.org/officeDocument/2006/relationships/slideLayout" Target="../slideLayouts/slideLayout14.xml"/><Relationship Id="rId19" Type="http://schemas.openxmlformats.org/officeDocument/2006/relationships/slideLayout" Target="../slideLayouts/slideLayout23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Relationship Id="rId22" Type="http://schemas.openxmlformats.org/officeDocument/2006/relationships/slideLayout" Target="../slideLayouts/slideLayout26.xml"/><Relationship Id="rId27" Type="http://schemas.openxmlformats.org/officeDocument/2006/relationships/tags" Target="../tags/tag3.xml"/><Relationship Id="rId30" Type="http://schemas.openxmlformats.org/officeDocument/2006/relationships/image" Target="../media/image5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506592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3" imgH="473" progId="TCLayout.ActiveDocument.1">
                  <p:embed/>
                </p:oleObj>
              </mc:Choice>
              <mc:Fallback>
                <p:oleObj name="think-cell Slide" r:id="rId7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/>
          <p:cNvSpPr>
            <a:spLocks noGrp="1"/>
          </p:cNvSpPr>
          <p:nvPr>
            <p:ph type="sldNum" sz="quarter" idx="4"/>
          </p:nvPr>
        </p:nvSpPr>
        <p:spPr>
          <a:xfrm>
            <a:off x="11483455" y="6553519"/>
            <a:ext cx="32416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1000" b="0" i="0" smtClean="0">
                <a:latin typeface="+mn-lt"/>
              </a:defRPr>
            </a:lvl1pPr>
          </a:lstStyle>
          <a:p>
            <a:pPr defTabSz="914911">
              <a:lnSpc>
                <a:spcPct val="108000"/>
              </a:lnSpc>
              <a:spcAft>
                <a:spcPts val="1008"/>
              </a:spcAft>
            </a:pPr>
            <a:fld id="{52531704-8F80-415D-BD2B-6B9991AE822F}" type="slidenum">
              <a:rPr lang="de-DE" smtClean="0"/>
              <a:pPr defTabSz="914911">
                <a:lnSpc>
                  <a:spcPct val="108000"/>
                </a:lnSpc>
                <a:spcAft>
                  <a:spcPts val="1008"/>
                </a:spcAft>
              </a:pPr>
              <a:t>‹#›</a:t>
            </a:fld>
            <a:endParaRPr lang="de-DE" dirty="0"/>
          </a:p>
        </p:txBody>
      </p:sp>
      <p:sp>
        <p:nvSpPr>
          <p:cNvPr id="8" name="Footer"/>
          <p:cNvSpPr>
            <a:spLocks noGrp="1"/>
          </p:cNvSpPr>
          <p:nvPr>
            <p:ph type="ftr" sz="quarter" idx="3"/>
          </p:nvPr>
        </p:nvSpPr>
        <p:spPr>
          <a:xfrm>
            <a:off x="3146847" y="6553519"/>
            <a:ext cx="785208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lang="de-DE" sz="1000" b="0" i="0" smtClean="0">
                <a:latin typeface="+mn-lt"/>
              </a:defRPr>
            </a:lvl1pPr>
          </a:lstStyle>
          <a:p>
            <a:pPr defTabSz="914911">
              <a:lnSpc>
                <a:spcPct val="108000"/>
              </a:lnSpc>
              <a:spcAft>
                <a:spcPts val="1008"/>
              </a:spcAft>
            </a:pPr>
            <a:r>
              <a:rPr lang="en-US"/>
              <a:t>Injection duration Investigation| DIVe FIS | TT/S43-52 |</a:t>
            </a:r>
            <a:endParaRPr lang="de-DE" dirty="0"/>
          </a:p>
        </p:txBody>
      </p:sp>
      <p:sp>
        <p:nvSpPr>
          <p:cNvPr id="15" name="Daimler Truck">
            <a:extLst>
              <a:ext uri="{FF2B5EF4-FFF2-40B4-BE49-F238E27FC236}">
                <a16:creationId xmlns:a16="http://schemas.microsoft.com/office/drawing/2014/main" id="{4743B201-ABC5-B340-99A6-2AE6FBC86FF9}"/>
              </a:ext>
            </a:extLst>
          </p:cNvPr>
          <p:cNvSpPr txBox="1">
            <a:spLocks/>
          </p:cNvSpPr>
          <p:nvPr userDrawn="1"/>
        </p:nvSpPr>
        <p:spPr>
          <a:xfrm>
            <a:off x="395999" y="6552002"/>
            <a:ext cx="902576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de-DE"/>
            </a:defPPr>
            <a:lvl1pPr marL="0" algn="r" defTabSz="1088959" rtl="0" eaLnBrk="1" latinLnBrk="0" hangingPunct="1">
              <a:defRPr lang="de-DE" sz="1000" b="0" i="0" kern="1200" smtClean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defRPr>
            </a:lvl1pPr>
            <a:lvl2pPr marL="54447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959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343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918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239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877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135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836" algn="l" defTabSz="1088959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4911">
              <a:lnSpc>
                <a:spcPct val="108000"/>
              </a:lnSpc>
              <a:spcAft>
                <a:spcPts val="1008"/>
              </a:spcAft>
              <a:buFont typeface="+mj-lt"/>
              <a:buNone/>
            </a:pPr>
            <a:r>
              <a:rPr lang="de-DE" sz="1000" dirty="0">
                <a:latin typeface="+mn-lt"/>
              </a:rPr>
              <a:t>Daimler Truck AG</a:t>
            </a:r>
          </a:p>
        </p:txBody>
      </p:sp>
      <p:cxnSp>
        <p:nvCxnSpPr>
          <p:cNvPr id="7" name="Footerline"/>
          <p:cNvCxnSpPr/>
          <p:nvPr/>
        </p:nvCxnSpPr>
        <p:spPr bwMode="auto">
          <a:xfrm>
            <a:off x="395495" y="6504872"/>
            <a:ext cx="11412129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3" name="Text">
            <a:extLst>
              <a:ext uri="{FF2B5EF4-FFF2-40B4-BE49-F238E27FC236}">
                <a16:creationId xmlns:a16="http://schemas.microsoft.com/office/drawing/2014/main" id="{30225EF0-95AE-1445-9091-215705311C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5495" y="1511651"/>
            <a:ext cx="11412129" cy="491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2" name="Headline"/>
          <p:cNvSpPr>
            <a:spLocks noGrp="1"/>
          </p:cNvSpPr>
          <p:nvPr>
            <p:ph type="title"/>
          </p:nvPr>
        </p:nvSpPr>
        <p:spPr>
          <a:xfrm>
            <a:off x="395495" y="367594"/>
            <a:ext cx="11412129" cy="10093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69221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694" r:id="rId2"/>
    <p:sldLayoutId id="2147483698" r:id="rId3"/>
    <p:sldLayoutId id="2147483745" r:id="rId4"/>
  </p:sldLayoutIdLst>
  <p:hf hdr="0" dt="0"/>
  <p:txStyles>
    <p:titleStyle>
      <a:lvl1pPr algn="l" defTabSz="914674" rtl="0" eaLnBrk="1" latinLnBrk="0" hangingPunct="1">
        <a:spcBef>
          <a:spcPct val="0"/>
        </a:spcBef>
        <a:buNone/>
        <a:defRPr lang="de-DE" sz="3001" b="0" i="0" kern="1200" baseline="0" noProof="0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674" rtl="0" eaLnBrk="1" latinLnBrk="0" hangingPunct="1">
        <a:spcBef>
          <a:spcPts val="0"/>
        </a:spcBef>
        <a:spcAft>
          <a:spcPts val="0"/>
        </a:spcAft>
        <a:buFont typeface="Wingdings" panose="05000000000000000000" pitchFamily="2" charset="2"/>
        <a:buNone/>
        <a:defRPr lang="de-DE" sz="2001" b="0" i="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0" indent="-180054" algn="l" defTabSz="914674" rtl="0" eaLnBrk="1" latinLnBrk="0" hangingPunct="1">
        <a:lnSpc>
          <a:spcPct val="120000"/>
        </a:lnSpc>
        <a:spcBef>
          <a:spcPts val="0"/>
        </a:spcBef>
        <a:buSzPct val="120000"/>
        <a:buFont typeface="Wingdings" panose="05000000000000000000" pitchFamily="2" charset="2"/>
        <a:buChar char="§"/>
        <a:defRPr lang="de-DE" sz="2001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60108" indent="-180054" algn="l" defTabSz="914674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-"/>
        <a:defRPr lang="de-DE" sz="16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40162" indent="-180054" algn="l" defTabSz="914674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-"/>
        <a:defRPr lang="de-DE" sz="16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674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-"/>
        <a:defRPr lang="de-DE" sz="16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674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719138" indent="-179388" algn="l" defTabSz="914674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Daimler CS" pitchFamily="2" charset="0"/>
          <a:ea typeface="+mn-ea"/>
          <a:cs typeface="+mn-cs"/>
        </a:defRPr>
      </a:lvl7pPr>
      <a:lvl8pPr marL="720216" indent="-180054" algn="l" defTabSz="914674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Daimler CS" pitchFamily="2" charset="0"/>
          <a:ea typeface="+mn-ea"/>
          <a:cs typeface="+mn-cs"/>
        </a:defRPr>
      </a:lvl8pPr>
      <a:lvl9pPr marL="720216" indent="-180054" algn="l" defTabSz="914674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Daimler CS" pitchFamily="2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67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337" algn="l" defTabSz="91467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674" algn="l" defTabSz="91467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2011" algn="l" defTabSz="91467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9349" algn="l" defTabSz="91467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686" algn="l" defTabSz="91467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4023" algn="l" defTabSz="91467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1360" algn="l" defTabSz="91467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8697" algn="l" defTabSz="91467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73" imgH="473" progId="TCLayout.ActiveDocument.1">
                  <p:embed/>
                </p:oleObj>
              </mc:Choice>
              <mc:Fallback>
                <p:oleObj name="think-cell Slide" r:id="rId28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 bwMode="black">
          <a:xfrm>
            <a:off x="396206" y="368386"/>
            <a:ext cx="11409828" cy="10085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CorpoA (Headings) 30 pt. </a:t>
            </a:r>
            <a:br>
              <a:rPr lang="en-US" noProof="0" dirty="0"/>
            </a:br>
            <a:r>
              <a:rPr lang="en-US" noProof="0" dirty="0"/>
              <a:t>Lorem ipsum dolor sit amet.</a:t>
            </a:r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 bwMode="black">
          <a:xfrm>
            <a:off x="396206" y="1513240"/>
            <a:ext cx="11409828" cy="49160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Insert text in </a:t>
            </a:r>
            <a:r>
              <a:rPr lang="en-US" noProof="0" dirty="0"/>
              <a:t>CorpoS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6" name="Fußzeilenplatzhalter 4"/>
          <p:cNvSpPr>
            <a:spLocks noGrp="1"/>
          </p:cNvSpPr>
          <p:nvPr userDrawn="1">
            <p:ph type="ftr" sz="quarter" idx="3"/>
          </p:nvPr>
        </p:nvSpPr>
        <p:spPr bwMode="black">
          <a:xfrm>
            <a:off x="3148038" y="6553517"/>
            <a:ext cx="7852088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r>
              <a:rPr lang="en-US"/>
              <a:t>Injection duration Investigation| DIVe FIS | TT/S43-52 |</a:t>
            </a:r>
            <a:endParaRPr lang="en-US" dirty="0"/>
          </a:p>
        </p:txBody>
      </p:sp>
      <p:sp>
        <p:nvSpPr>
          <p:cNvPr id="27" name="Foliennummernplatzhalter 5"/>
          <p:cNvSpPr>
            <a:spLocks noGrp="1"/>
          </p:cNvSpPr>
          <p:nvPr userDrawn="1">
            <p:ph type="sldNum" sz="quarter" idx="4"/>
          </p:nvPr>
        </p:nvSpPr>
        <p:spPr bwMode="black">
          <a:xfrm>
            <a:off x="11489981" y="6553517"/>
            <a:ext cx="323999" cy="3060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99"/>
            </a:lvl2pPr>
            <a:lvl3pPr marL="0" indent="0" algn="l">
              <a:spcBef>
                <a:spcPts val="0"/>
              </a:spcBef>
              <a:defRPr sz="999"/>
            </a:lvl3pPr>
            <a:lvl4pPr marL="0" indent="0" algn="l">
              <a:spcBef>
                <a:spcPts val="0"/>
              </a:spcBef>
              <a:defRPr sz="999"/>
            </a:lvl4pPr>
            <a:lvl5pPr marL="0" indent="0" algn="l">
              <a:spcBef>
                <a:spcPts val="0"/>
              </a:spcBef>
              <a:defRPr sz="999"/>
            </a:lvl5pPr>
            <a:lvl6pPr marL="0" indent="0" algn="l">
              <a:spcBef>
                <a:spcPts val="0"/>
              </a:spcBef>
              <a:defRPr sz="999"/>
            </a:lvl6pPr>
            <a:lvl7pPr marL="0" indent="0" algn="l">
              <a:spcBef>
                <a:spcPts val="0"/>
              </a:spcBef>
              <a:defRPr sz="999"/>
            </a:lvl7pPr>
            <a:lvl8pPr marL="0" indent="0" algn="l">
              <a:spcBef>
                <a:spcPts val="0"/>
              </a:spcBef>
              <a:defRPr sz="999"/>
            </a:lvl8pPr>
            <a:lvl9pPr marL="0" indent="0" algn="l">
              <a:spcBef>
                <a:spcPts val="0"/>
              </a:spcBef>
              <a:defRPr sz="999"/>
            </a:lvl9pPr>
          </a:lstStyle>
          <a:p>
            <a:fld id="{AD1D1349-391B-44DC-865F-5996B3E40F2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9" name="Wortmarke Mercedes-Benz"/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396206" y="6614732"/>
            <a:ext cx="1188619" cy="149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404186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  <p:sldLayoutId id="2147483760" r:id="rId12"/>
    <p:sldLayoutId id="2147483761" r:id="rId13"/>
    <p:sldLayoutId id="2147483762" r:id="rId14"/>
    <p:sldLayoutId id="2147483763" r:id="rId15"/>
    <p:sldLayoutId id="2147483764" r:id="rId16"/>
    <p:sldLayoutId id="2147483765" r:id="rId17"/>
    <p:sldLayoutId id="2147483766" r:id="rId18"/>
    <p:sldLayoutId id="2147483767" r:id="rId19"/>
    <p:sldLayoutId id="2147483768" r:id="rId20"/>
    <p:sldLayoutId id="2147483769" r:id="rId21"/>
    <p:sldLayoutId id="2147483770" r:id="rId22"/>
    <p:sldLayoutId id="2147483771" r:id="rId23"/>
    <p:sldLayoutId id="2147483772" r:id="rId24"/>
    <p:sldLayoutId id="2147483773" r:id="rId25"/>
  </p:sldLayoutIdLst>
  <p:hf hdr="0" dt="0"/>
  <p:txStyles>
    <p:titleStyle>
      <a:lvl1pPr marL="0" indent="0" algn="l" defTabSz="913997" rtl="0" eaLnBrk="1" latinLnBrk="0" hangingPunct="1">
        <a:spcBef>
          <a:spcPts val="0"/>
        </a:spcBef>
        <a:buFont typeface="+mj-lt"/>
        <a:buNone/>
        <a:defRPr sz="3000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997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+mj-lt"/>
        <a:buNone/>
        <a:defRPr sz="1999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1849" indent="-341849" algn="l" defTabSz="913997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Arial" panose="020B0604020202020204" pitchFamily="34" charset="0"/>
        <a:buChar char="•"/>
        <a:defRPr sz="1999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762" indent="-197913" algn="l" defTabSz="913997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738148" indent="-197913" algn="l" defTabSz="913997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738148" indent="-197913" algn="l" defTabSz="913997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738148" indent="-197913" algn="l" defTabSz="913997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738148" indent="-197913" algn="l" defTabSz="913997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738148" indent="-197913" algn="l" defTabSz="913997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738148" indent="-197913" algn="l" defTabSz="913997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9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97" algn="l" defTabSz="9139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97" algn="l" defTabSz="9139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94" algn="l" defTabSz="9139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994" algn="l" defTabSz="9139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992" algn="l" defTabSz="9139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991" algn="l" defTabSz="9139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989" algn="l" defTabSz="9139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987" algn="l" defTabSz="91399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76290D9-6C44-C5F5-1EC5-9A6CD3C8A1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4911">
              <a:lnSpc>
                <a:spcPct val="108000"/>
              </a:lnSpc>
              <a:spcAft>
                <a:spcPts val="1008"/>
              </a:spcAft>
            </a:pPr>
            <a:fld id="{52531704-8F80-415D-BD2B-6B9991AE822F}" type="slidenum">
              <a:rPr lang="de-DE" smtClean="0"/>
              <a:pPr defTabSz="914911">
                <a:lnSpc>
                  <a:spcPct val="108000"/>
                </a:lnSpc>
                <a:spcAft>
                  <a:spcPts val="1008"/>
                </a:spcAft>
              </a:pPr>
              <a:t>1</a:t>
            </a:fld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3CD2E6-2540-34AA-3DF5-50E4385CF5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574542C-C2EA-49BD-2A42-EE52AE6250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914911">
              <a:lnSpc>
                <a:spcPct val="108000"/>
              </a:lnSpc>
              <a:spcAft>
                <a:spcPts val="1008"/>
              </a:spcAft>
            </a:pPr>
            <a:r>
              <a:rPr lang="en-US"/>
              <a:t>Injection duration Investigation| DIVe FIS | TT/S43-52 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3310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aimler Truck AG (BoM)">
  <a:themeElements>
    <a:clrScheme name="Office 2007 - 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© Daimler">
      <a:majorFont>
        <a:latin typeface="Daimler CS"/>
        <a:ea typeface=""/>
        <a:cs typeface=""/>
      </a:majorFont>
      <a:minorFont>
        <a:latin typeface="Daimler C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lIns="72000" tIns="72000" rIns="72000" bIns="72000" rtlCol="0" anchor="ctr"/>
      <a:lstStyle>
        <a:defPPr algn="ctr">
          <a:defRPr sz="2000" dirty="0" err="1" smtClean="0">
            <a:latin typeface="Daimler CS" pitchFamily="2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spAutoFit/>
      </a:bodyPr>
      <a:lstStyle>
        <a:defPPr>
          <a:defRPr sz="2000" dirty="0" err="1" smtClean="0">
            <a:latin typeface="Daimler CS" pitchFamily="2" charset="0"/>
          </a:defRPr>
        </a:defPPr>
      </a:lstStyle>
    </a:txDef>
  </a:objectDefaults>
  <a:extraClrSchemeLst/>
  <a:custClrLst>
    <a:custClr name="Light Grey 100%">
      <a:srgbClr val="E6E6E6"/>
    </a:custClr>
    <a:custClr name="Light Grey +20 K">
      <a:srgbClr val="C8C8C8"/>
    </a:custClr>
    <a:custClr name="Light Grey +40 K">
      <a:srgbClr val="9E9E9E"/>
    </a:custClr>
    <a:custClr name="Light Grey +60 K">
      <a:srgbClr val="707070"/>
    </a:custClr>
    <a:custClr name="Light Grey +80 K">
      <a:srgbClr val="444444"/>
    </a:custClr>
    <a:custClr name="Weiß">
      <a:srgbClr val="FFFFFF"/>
    </a:custClr>
    <a:custClr name="Schwarz">
      <a:srgbClr val="000000"/>
    </a:custClr>
    <a:custClr>
      <a:srgbClr val="FFFFFF"/>
    </a:custClr>
    <a:custClr>
      <a:srgbClr val="FFFFFF"/>
    </a:custClr>
    <a:custClr>
      <a:srgbClr val="FFFFFF"/>
    </a:custClr>
    <a:custClr name="Petrol 100%">
      <a:srgbClr val="00677F"/>
    </a:custClr>
    <a:custClr name="Petrol 20%">
      <a:srgbClr val="A6CAD8"/>
    </a:custClr>
    <a:custClr name="Petrol 40%">
      <a:srgbClr val="79AEBF"/>
    </a:custClr>
    <a:custClr name="Petrol 60%">
      <a:srgbClr val="5097AB"/>
    </a:custClr>
    <a:custClr name="Petrol 80%">
      <a:srgbClr val="007A93"/>
    </a:custClr>
    <a:custClr name="Petrol +20 K">
      <a:srgbClr val="00566A"/>
    </a:custClr>
    <a:custClr name="Petrol +40 K">
      <a:srgbClr val="004355"/>
    </a:custClr>
    <a:custClr>
      <a:srgbClr val="FFFFFF"/>
    </a:custClr>
    <a:custClr>
      <a:srgbClr val="FFFFFF"/>
    </a:custClr>
    <a:custClr>
      <a:srgbClr val="FFFFFF"/>
    </a:custClr>
    <a:custClr name="Deep Red 100%">
      <a:srgbClr val="71180C"/>
    </a:custClr>
    <a:custClr name="Deep Red +20 K">
      <a:srgbClr val="5A130A"/>
    </a:custClr>
    <a:custClr name="Deep Red +40 K">
      <a:srgbClr val="440E0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ün">
      <a:srgbClr val="00962F"/>
    </a:custClr>
    <a:custClr name="Gelb">
      <a:srgbClr val="FFD700"/>
    </a:custClr>
    <a:custClr name="Rot">
      <a:srgbClr val="FF0000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DT_BoM_PPT_Template_Sections_EN.pptx" id="{262E45F1-DFEE-4C3F-B2FA-7BF54913C71C}" vid="{12F1DDF3-9622-4EAD-B971-7FDC3C9DA36A}"/>
    </a:ext>
  </a:extLst>
</a:theme>
</file>

<file path=ppt/theme/theme2.xml><?xml version="1.0" encoding="utf-8"?>
<a:theme xmlns:a="http://schemas.openxmlformats.org/drawingml/2006/main" name="Mercedes-Benz black">
  <a:themeElements>
    <a:clrScheme name="Mercedes-Benz black new 2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9E9E9E"/>
      </a:accent1>
      <a:accent2>
        <a:srgbClr val="E6E6E6"/>
      </a:accent2>
      <a:accent3>
        <a:srgbClr val="C8C8C8"/>
      </a:accent3>
      <a:accent4>
        <a:srgbClr val="707070"/>
      </a:accent4>
      <a:accent5>
        <a:srgbClr val="444444"/>
      </a:accent5>
      <a:accent6>
        <a:srgbClr val="00ADEF"/>
      </a:accent6>
      <a:hlink>
        <a:srgbClr val="00ADEF"/>
      </a:hlink>
      <a:folHlink>
        <a:srgbClr val="00ADEF"/>
      </a:folHlink>
    </a:clrScheme>
    <a:fontScheme name="© 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custClrLst>
    <a:custClr name="Light Grey 100%">
      <a:srgbClr val="E6E6E6"/>
    </a:custClr>
    <a:custClr name="Light Grey +20 K">
      <a:srgbClr val="C8C8C8"/>
    </a:custClr>
    <a:custClr name="Light Grey +40 K">
      <a:srgbClr val="9E9E9E"/>
    </a:custClr>
    <a:custClr name="Light Grey +60 K">
      <a:srgbClr val="707070"/>
    </a:custClr>
    <a:custClr name="Light Grey +80 K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ure Blue 100%">
      <a:srgbClr val="00ADEF"/>
    </a:custClr>
    <a:custClr name="Pure Blue +">
      <a:srgbClr val="0082E6"/>
    </a:custClr>
    <a:custClr name="Pure Blue ++">
      <a:srgbClr val="00336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Red">
      <a:srgbClr val="9F0002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2016_MB_Cars_presentation_EN_16_9_v9h_guf01b.potx" id="{9EEC3837-2A8B-434E-BC67-9B67E4EAC0BE}" vid="{DB6FAA90-AB01-4555-9519-7828545E6234}"/>
    </a:ext>
  </a:extLst>
</a:theme>
</file>

<file path=ppt/theme/theme3.xml><?xml version="1.0" encoding="utf-8"?>
<a:theme xmlns:a="http://schemas.openxmlformats.org/drawingml/2006/main" name="Office Theme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PPT">
      <a:majorFont>
        <a:latin typeface="Daimler CS"/>
        <a:ea typeface=""/>
        <a:cs typeface=""/>
      </a:majorFont>
      <a:minorFont>
        <a:latin typeface="Daimler C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PPT">
      <a:majorFont>
        <a:latin typeface="Daimler CS"/>
        <a:ea typeface=""/>
        <a:cs typeface=""/>
      </a:majorFont>
      <a:minorFont>
        <a:latin typeface="Daimler C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522e9e59-5b9e-4fcd-a4b6-ad60182caee2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CD4794A6BEF7645BCDC859D16D8D58D" ma:contentTypeVersion="11" ma:contentTypeDescription="Create a new document." ma:contentTypeScope="" ma:versionID="31fa03eefcc3a0825672784187672d96">
  <xsd:schema xmlns:xsd="http://www.w3.org/2001/XMLSchema" xmlns:xs="http://www.w3.org/2001/XMLSchema" xmlns:p="http://schemas.microsoft.com/office/2006/metadata/properties" xmlns:ns3="007a3ac1-318d-4223-b009-b28bce466360" xmlns:ns4="522e9e59-5b9e-4fcd-a4b6-ad60182caee2" targetNamespace="http://schemas.microsoft.com/office/2006/metadata/properties" ma:root="true" ma:fieldsID="927e44160efdeb9f235c55cf18eb82a9" ns3:_="" ns4:_="">
    <xsd:import namespace="007a3ac1-318d-4223-b009-b28bce466360"/>
    <xsd:import namespace="522e9e59-5b9e-4fcd-a4b6-ad60182caee2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_activity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07a3ac1-318d-4223-b009-b28bce46636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22e9e59-5b9e-4fcd-a4b6-ad60182caee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_activity" ma:index="13" nillable="true" ma:displayName="_activity" ma:hidden="true" ma:internalName="_activity">
      <xsd:simpleType>
        <xsd:restriction base="dms:Note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9E6B003-3810-45C4-B3D7-A2B430F28E8B}">
  <ds:schemaRefs>
    <ds:schemaRef ds:uri="http://schemas.microsoft.com/office/2006/metadata/properties"/>
    <ds:schemaRef ds:uri="http://schemas.openxmlformats.org/package/2006/metadata/core-properties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purl.org/dc/dcmitype/"/>
    <ds:schemaRef ds:uri="007a3ac1-318d-4223-b009-b28bce466360"/>
    <ds:schemaRef ds:uri="522e9e59-5b9e-4fcd-a4b6-ad60182caee2"/>
    <ds:schemaRef ds:uri="http://purl.org/dc/elements/1.1/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08ED91AE-A8C2-49AC-890D-25293BB8653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6ADD4C9-39D0-43AB-A1ED-C72278AF3E8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07a3ac1-318d-4223-b009-b28bce466360"/>
    <ds:schemaRef ds:uri="522e9e59-5b9e-4fcd-a4b6-ad60182caee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ab5ff3ce-c151-426b-9620-64dd2650a755}" enabled="1" method="Standard" siteId="{505cca53-5750-4134-9501-8d52d5df3cd1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DT_BoM_PPT_Template_Sections_EN</Template>
  <TotalTime>0</TotalTime>
  <Words>12</Words>
  <Application>Microsoft Office PowerPoint</Application>
  <PresentationFormat>Custom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orpoA</vt:lpstr>
      <vt:lpstr>CorpoS</vt:lpstr>
      <vt:lpstr>Daimler CS</vt:lpstr>
      <vt:lpstr>Symbol</vt:lpstr>
      <vt:lpstr>Wingdings</vt:lpstr>
      <vt:lpstr>Daimler Truck AG (BoM)</vt:lpstr>
      <vt:lpstr>Mercedes-Benz black</vt:lpstr>
      <vt:lpstr>think-cell Slide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9-03-04T13:47:56Z</cp:lastPrinted>
  <dcterms:created xsi:type="dcterms:W3CDTF">2021-08-24T06:55:58Z</dcterms:created>
  <dcterms:modified xsi:type="dcterms:W3CDTF">2024-05-02T10:28:08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24dbb1d-991d-4bbd-aad5-33bac1d8ffaf_Enabled">
    <vt:lpwstr>true</vt:lpwstr>
  </property>
  <property fmtid="{D5CDD505-2E9C-101B-9397-08002B2CF9AE}" pid="3" name="MSIP_Label_924dbb1d-991d-4bbd-aad5-33bac1d8ffaf_SetDate">
    <vt:lpwstr>2022-04-27T09:53:57Z</vt:lpwstr>
  </property>
  <property fmtid="{D5CDD505-2E9C-101B-9397-08002B2CF9AE}" pid="4" name="MSIP_Label_924dbb1d-991d-4bbd-aad5-33bac1d8ffaf_Method">
    <vt:lpwstr>Standard</vt:lpwstr>
  </property>
  <property fmtid="{D5CDD505-2E9C-101B-9397-08002B2CF9AE}" pid="5" name="MSIP_Label_924dbb1d-991d-4bbd-aad5-33bac1d8ffaf_Name">
    <vt:lpwstr>924dbb1d-991d-4bbd-aad5-33bac1d8ffaf</vt:lpwstr>
  </property>
  <property fmtid="{D5CDD505-2E9C-101B-9397-08002B2CF9AE}" pid="6" name="MSIP_Label_924dbb1d-991d-4bbd-aad5-33bac1d8ffaf_SiteId">
    <vt:lpwstr>9652d7c2-1ccf-4940-8151-4a92bd474ed0</vt:lpwstr>
  </property>
  <property fmtid="{D5CDD505-2E9C-101B-9397-08002B2CF9AE}" pid="7" name="MSIP_Label_924dbb1d-991d-4bbd-aad5-33bac1d8ffaf_ActionId">
    <vt:lpwstr>f3dffbce-46c8-47b2-8a2e-d379d6e28ce8</vt:lpwstr>
  </property>
  <property fmtid="{D5CDD505-2E9C-101B-9397-08002B2CF9AE}" pid="8" name="MSIP_Label_924dbb1d-991d-4bbd-aad5-33bac1d8ffaf_ContentBits">
    <vt:lpwstr>1</vt:lpwstr>
  </property>
  <property fmtid="{D5CDD505-2E9C-101B-9397-08002B2CF9AE}" pid="9" name="MSIP_Label_ab5ff3ce-c151-426b-9620-64dd2650a755_Enabled">
    <vt:lpwstr>true</vt:lpwstr>
  </property>
  <property fmtid="{D5CDD505-2E9C-101B-9397-08002B2CF9AE}" pid="10" name="MSIP_Label_ab5ff3ce-c151-426b-9620-64dd2650a755_SetDate">
    <vt:lpwstr>2022-08-09T06:07:30Z</vt:lpwstr>
  </property>
  <property fmtid="{D5CDD505-2E9C-101B-9397-08002B2CF9AE}" pid="11" name="MSIP_Label_ab5ff3ce-c151-426b-9620-64dd2650a755_Method">
    <vt:lpwstr>Standard</vt:lpwstr>
  </property>
  <property fmtid="{D5CDD505-2E9C-101B-9397-08002B2CF9AE}" pid="12" name="MSIP_Label_ab5ff3ce-c151-426b-9620-64dd2650a755_Name">
    <vt:lpwstr>Daimler Truck Internal</vt:lpwstr>
  </property>
  <property fmtid="{D5CDD505-2E9C-101B-9397-08002B2CF9AE}" pid="13" name="MSIP_Label_ab5ff3ce-c151-426b-9620-64dd2650a755_SiteId">
    <vt:lpwstr>505cca53-5750-4134-9501-8d52d5df3cd1</vt:lpwstr>
  </property>
  <property fmtid="{D5CDD505-2E9C-101B-9397-08002B2CF9AE}" pid="14" name="MSIP_Label_ab5ff3ce-c151-426b-9620-64dd2650a755_ActionId">
    <vt:lpwstr>1cf862f5-d609-4a52-8231-4ada59c0e5ae</vt:lpwstr>
  </property>
  <property fmtid="{D5CDD505-2E9C-101B-9397-08002B2CF9AE}" pid="15" name="MSIP_Label_ab5ff3ce-c151-426b-9620-64dd2650a755_ContentBits">
    <vt:lpwstr>0</vt:lpwstr>
  </property>
  <property fmtid="{D5CDD505-2E9C-101B-9397-08002B2CF9AE}" pid="16" name="ContentTypeId">
    <vt:lpwstr>0x0101003CD4794A6BEF7645BCDC859D16D8D58D</vt:lpwstr>
  </property>
</Properties>
</file>